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charts/chart49.xml" ContentType="application/vnd.openxmlformats-officedocument.drawingml.chart+xml"/>
  <Override PartName="/ppt/tags/tag68.xml" ContentType="application/vnd.openxmlformats-officedocument.presentationml.tags+xml"/>
  <Override PartName="/ppt/charts/chart50.xml" ContentType="application/vnd.openxmlformats-officedocument.drawingml.chart+xml"/>
  <Override PartName="/ppt/tags/tag69.xml" ContentType="application/vnd.openxmlformats-officedocument.presentationml.tags+xml"/>
  <Override PartName="/ppt/charts/chart51.xml" ContentType="application/vnd.openxmlformats-officedocument.drawingml.chart+xml"/>
  <Override PartName="/ppt/tags/tag70.xml" ContentType="application/vnd.openxmlformats-officedocument.presentationml.tags+xml"/>
  <Override PartName="/ppt/charts/chart52.xml" ContentType="application/vnd.openxmlformats-officedocument.drawingml.chart+xml"/>
  <Override PartName="/ppt/tags/tag71.xml" ContentType="application/vnd.openxmlformats-officedocument.presentationml.tags+xml"/>
  <Override PartName="/ppt/charts/chart53.xml" ContentType="application/vnd.openxmlformats-officedocument.drawingml.chart+xml"/>
  <Override PartName="/ppt/tags/tag72.xml" ContentType="application/vnd.openxmlformats-officedocument.presentationml.tags+xml"/>
  <Override PartName="/ppt/charts/chart54.xml" ContentType="application/vnd.openxmlformats-officedocument.drawingml.chart+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notesSlides/notesSlide2.xml" ContentType="application/vnd.openxmlformats-officedocument.presentationml.notesSlide+xml"/>
  <Override PartName="/ppt/tags/tag75.xml" ContentType="application/vnd.openxmlformats-officedocument.presentationml.tags+xml"/>
  <Override PartName="/ppt/notesSlides/notesSlide3.xml" ContentType="application/vnd.openxmlformats-officedocument.presentationml.notesSlide+xml"/>
  <Override PartName="/ppt/tags/tag76.xml" ContentType="application/vnd.openxmlformats-officedocument.presentationml.tags+xml"/>
  <Override PartName="/ppt/notesSlides/notesSlide4.xml" ContentType="application/vnd.openxmlformats-officedocument.presentationml.notesSlide+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notesSlides/notesSlide7.xml" ContentType="application/vnd.openxmlformats-officedocument.presentationml.notesSlide+xml"/>
  <Override PartName="/ppt/tags/tag80.xml" ContentType="application/vnd.openxmlformats-officedocument.presentationml.tags+xml"/>
  <Override PartName="/ppt/notesSlides/notesSlide8.xml" ContentType="application/vnd.openxmlformats-officedocument.presentationml.notesSlide+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notesSlides/notesSlide10.xml" ContentType="application/vnd.openxmlformats-officedocument.presentationml.notesSlide+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notesSlides/notesSlide12.xml" ContentType="application/vnd.openxmlformats-officedocument.presentationml.notesSlide+xml"/>
  <Override PartName="/ppt/tags/tag85.xml" ContentType="application/vnd.openxmlformats-officedocument.presentationml.tags+xml"/>
  <Override PartName="/ppt/notesSlides/notesSlide13.xml" ContentType="application/vnd.openxmlformats-officedocument.presentationml.notesSlide+xml"/>
  <Override PartName="/ppt/charts/chart55.xml" ContentType="application/vnd.openxmlformats-officedocument.drawingml.chart+xml"/>
  <Override PartName="/ppt/charts/style1.xml" ContentType="application/vnd.ms-office.chartstyle+xml"/>
  <Override PartName="/ppt/charts/colors1.xml" ContentType="application/vnd.ms-office.chartcolorstyle+xml"/>
  <Override PartName="/ppt/tags/tag86.xml" ContentType="application/vnd.openxmlformats-officedocument.presentationml.tags+xml"/>
  <Override PartName="/ppt/notesSlides/notesSlide14.xml" ContentType="application/vnd.openxmlformats-officedocument.presentationml.notesSlide+xml"/>
  <Override PartName="/ppt/charts/chart56.xml" ContentType="application/vnd.openxmlformats-officedocument.drawingml.chart+xml"/>
  <Override PartName="/ppt/charts/style2.xml" ContentType="application/vnd.ms-office.chartstyle+xml"/>
  <Override PartName="/ppt/charts/colors2.xml" ContentType="application/vnd.ms-office.chartcolorstyle+xml"/>
  <Override PartName="/ppt/tags/tag87.xml" ContentType="application/vnd.openxmlformats-officedocument.presentationml.tags+xml"/>
  <Override PartName="/ppt/notesSlides/notesSlide15.xml" ContentType="application/vnd.openxmlformats-officedocument.presentationml.notesSlide+xml"/>
  <Override PartName="/ppt/charts/chart57.xml" ContentType="application/vnd.openxmlformats-officedocument.drawingml.chart+xml"/>
  <Override PartName="/ppt/charts/style3.xml" ContentType="application/vnd.ms-office.chartstyle+xml"/>
  <Override PartName="/ppt/charts/colors3.xml" ContentType="application/vnd.ms-office.chartcolorstyle+xml"/>
  <Override PartName="/ppt/tags/tag88.xml" ContentType="application/vnd.openxmlformats-officedocument.presentationml.tags+xml"/>
  <Override PartName="/ppt/notesSlides/notesSlide16.xml" ContentType="application/vnd.openxmlformats-officedocument.presentationml.notesSlide+xml"/>
  <Override PartName="/ppt/charts/chart58.xml" ContentType="application/vnd.openxmlformats-officedocument.drawingml.chart+xml"/>
  <Override PartName="/ppt/charts/style4.xml" ContentType="application/vnd.ms-office.chartstyle+xml"/>
  <Override PartName="/ppt/charts/colors4.xml" ContentType="application/vnd.ms-office.chartcolorstyle+xml"/>
  <Override PartName="/ppt/tags/tag89.xml" ContentType="application/vnd.openxmlformats-officedocument.presentationml.tags+xml"/>
  <Override PartName="/ppt/notesSlides/notesSlide17.xml" ContentType="application/vnd.openxmlformats-officedocument.presentationml.notesSlide+xml"/>
  <Override PartName="/ppt/charts/chart59.xml" ContentType="application/vnd.openxmlformats-officedocument.drawingml.chart+xml"/>
  <Override PartName="/ppt/charts/style5.xml" ContentType="application/vnd.ms-office.chartstyle+xml"/>
  <Override PartName="/ppt/charts/colors5.xml" ContentType="application/vnd.ms-office.chartcolorstyle+xml"/>
  <Override PartName="/ppt/tags/tag90.xml" ContentType="application/vnd.openxmlformats-officedocument.presentationml.tags+xml"/>
  <Override PartName="/ppt/notesSlides/notesSlide18.xml" ContentType="application/vnd.openxmlformats-officedocument.presentationml.notesSlide+xml"/>
  <Override PartName="/ppt/charts/chart60.xml" ContentType="application/vnd.openxmlformats-officedocument.drawingml.chart+xml"/>
  <Override PartName="/ppt/charts/style6.xml" ContentType="application/vnd.ms-office.chartstyle+xml"/>
  <Override PartName="/ppt/charts/colors6.xml" ContentType="application/vnd.ms-office.chartcolorstyle+xml"/>
  <Override PartName="/ppt/tags/tag91.xml" ContentType="application/vnd.openxmlformats-officedocument.presentationml.tags+xml"/>
  <Override PartName="/ppt/notesSlides/notesSlide19.xml" ContentType="application/vnd.openxmlformats-officedocument.presentationml.notesSlide+xml"/>
  <Override PartName="/ppt/charts/chart61.xml" ContentType="application/vnd.openxmlformats-officedocument.drawingml.chart+xml"/>
  <Override PartName="/ppt/charts/style7.xml" ContentType="application/vnd.ms-office.chartstyle+xml"/>
  <Override PartName="/ppt/charts/colors7.xml" ContentType="application/vnd.ms-office.chartcolorstyle+xml"/>
  <Override PartName="/ppt/tags/tag92.xml" ContentType="application/vnd.openxmlformats-officedocument.presentationml.tags+xml"/>
  <Override PartName="/ppt/notesSlides/notesSlide20.xml" ContentType="application/vnd.openxmlformats-officedocument.presentationml.notesSlide+xml"/>
  <Override PartName="/ppt/charts/chart62.xml" ContentType="application/vnd.openxmlformats-officedocument.drawingml.chart+xml"/>
  <Override PartName="/ppt/charts/style8.xml" ContentType="application/vnd.ms-office.chartstyle+xml"/>
  <Override PartName="/ppt/charts/colors8.xml" ContentType="application/vnd.ms-office.chartcolorstyle+xml"/>
  <Override PartName="/ppt/tags/tag93.xml" ContentType="application/vnd.openxmlformats-officedocument.presentationml.tags+xml"/>
  <Override PartName="/ppt/notesSlides/notesSlide21.xml" ContentType="application/vnd.openxmlformats-officedocument.presentationml.notesSlide+xml"/>
  <Override PartName="/ppt/charts/chart63.xml" ContentType="application/vnd.openxmlformats-officedocument.drawingml.chart+xml"/>
  <Override PartName="/ppt/charts/style9.xml" ContentType="application/vnd.ms-office.chartstyle+xml"/>
  <Override PartName="/ppt/charts/colors9.xml" ContentType="application/vnd.ms-office.chartcolorstyle+xml"/>
  <Override PartName="/ppt/tags/tag94.xml" ContentType="application/vnd.openxmlformats-officedocument.presentationml.tags+xml"/>
  <Override PartName="/ppt/notesSlides/notesSlide22.xml" ContentType="application/vnd.openxmlformats-officedocument.presentationml.notesSlide+xml"/>
  <Override PartName="/ppt/charts/chart64.xml" ContentType="application/vnd.openxmlformats-officedocument.drawingml.chart+xml"/>
  <Override PartName="/ppt/charts/style10.xml" ContentType="application/vnd.ms-office.chartstyle+xml"/>
  <Override PartName="/ppt/charts/colors10.xml" ContentType="application/vnd.ms-office.chartcolorstyle+xml"/>
  <Override PartName="/ppt/tags/tag95.xml" ContentType="application/vnd.openxmlformats-officedocument.presentationml.tags+xml"/>
  <Override PartName="/ppt/notesSlides/notesSlide23.xml" ContentType="application/vnd.openxmlformats-officedocument.presentationml.notesSlide+xml"/>
  <Override PartName="/ppt/charts/chart65.xml" ContentType="application/vnd.openxmlformats-officedocument.drawingml.chart+xml"/>
  <Override PartName="/ppt/charts/style11.xml" ContentType="application/vnd.ms-office.chartstyle+xml"/>
  <Override PartName="/ppt/charts/colors11.xml" ContentType="application/vnd.ms-office.chartcolorstyle+xml"/>
  <Override PartName="/ppt/tags/tag96.xml" ContentType="application/vnd.openxmlformats-officedocument.presentationml.tags+xml"/>
  <Override PartName="/ppt/notesSlides/notesSlide24.xml" ContentType="application/vnd.openxmlformats-officedocument.presentationml.notesSlide+xml"/>
  <Override PartName="/ppt/charts/chart66.xml" ContentType="application/vnd.openxmlformats-officedocument.drawingml.chart+xml"/>
  <Override PartName="/ppt/charts/style12.xml" ContentType="application/vnd.ms-office.chartstyle+xml"/>
  <Override PartName="/ppt/charts/colors12.xml" ContentType="application/vnd.ms-office.chartcolorstyle+xml"/>
  <Override PartName="/ppt/tags/tag97.xml" ContentType="application/vnd.openxmlformats-officedocument.presentationml.tags+xml"/>
  <Override PartName="/ppt/notesSlides/notesSlide25.xml" ContentType="application/vnd.openxmlformats-officedocument.presentationml.notesSlide+xml"/>
  <Override PartName="/ppt/charts/chart67.xml" ContentType="application/vnd.openxmlformats-officedocument.drawingml.chart+xml"/>
  <Override PartName="/ppt/charts/style13.xml" ContentType="application/vnd.ms-office.chartstyle+xml"/>
  <Override PartName="/ppt/charts/colors13.xml" ContentType="application/vnd.ms-office.chartcolorstyle+xml"/>
  <Override PartName="/ppt/tags/tag98.xml" ContentType="application/vnd.openxmlformats-officedocument.presentationml.tags+xml"/>
  <Override PartName="/ppt/notesSlides/notesSlide26.xml" ContentType="application/vnd.openxmlformats-officedocument.presentationml.notesSlide+xml"/>
  <Override PartName="/ppt/charts/chart68.xml" ContentType="application/vnd.openxmlformats-officedocument.drawingml.chart+xml"/>
  <Override PartName="/ppt/charts/style14.xml" ContentType="application/vnd.ms-office.chartstyle+xml"/>
  <Override PartName="/ppt/charts/colors14.xml" ContentType="application/vnd.ms-office.chartcolorstyle+xml"/>
  <Override PartName="/ppt/tags/tag99.xml" ContentType="application/vnd.openxmlformats-officedocument.presentationml.tags+xml"/>
  <Override PartName="/ppt/notesSlides/notesSlide27.xml" ContentType="application/vnd.openxmlformats-officedocument.presentationml.notesSlide+xml"/>
  <Override PartName="/ppt/charts/chart69.xml" ContentType="application/vnd.openxmlformats-officedocument.drawingml.chart+xml"/>
  <Override PartName="/ppt/charts/style15.xml" ContentType="application/vnd.ms-office.chartstyle+xml"/>
  <Override PartName="/ppt/charts/colors15.xml" ContentType="application/vnd.ms-office.chartcolorstyle+xml"/>
  <Override PartName="/ppt/tags/tag100.xml" ContentType="application/vnd.openxmlformats-officedocument.presentationml.tags+xml"/>
  <Override PartName="/ppt/notesSlides/notesSlide28.xml" ContentType="application/vnd.openxmlformats-officedocument.presentationml.notesSlide+xml"/>
  <Override PartName="/ppt/charts/chart70.xml" ContentType="application/vnd.openxmlformats-officedocument.drawingml.chart+xml"/>
  <Override PartName="/ppt/charts/style16.xml" ContentType="application/vnd.ms-office.chartstyle+xml"/>
  <Override PartName="/ppt/charts/colors16.xml" ContentType="application/vnd.ms-office.chartcolorstyle+xml"/>
  <Override PartName="/ppt/tags/tag101.xml" ContentType="application/vnd.openxmlformats-officedocument.presentationml.tags+xml"/>
  <Override PartName="/ppt/notesSlides/notesSlide29.xml" ContentType="application/vnd.openxmlformats-officedocument.presentationml.notesSlide+xml"/>
  <Override PartName="/ppt/charts/chart71.xml" ContentType="application/vnd.openxmlformats-officedocument.drawingml.chart+xml"/>
  <Override PartName="/ppt/charts/style17.xml" ContentType="application/vnd.ms-office.chartstyle+xml"/>
  <Override PartName="/ppt/charts/colors17.xml" ContentType="application/vnd.ms-office.chartcolorstyle+xml"/>
  <Override PartName="/ppt/tags/tag102.xml" ContentType="application/vnd.openxmlformats-officedocument.presentationml.tags+xml"/>
  <Override PartName="/ppt/notesSlides/notesSlide30.xml" ContentType="application/vnd.openxmlformats-officedocument.presentationml.notesSlide+xml"/>
  <Override PartName="/ppt/charts/chart72.xml" ContentType="application/vnd.openxmlformats-officedocument.drawingml.chart+xml"/>
  <Override PartName="/ppt/charts/style18.xml" ContentType="application/vnd.ms-office.chartstyle+xml"/>
  <Override PartName="/ppt/charts/colors18.xml" ContentType="application/vnd.ms-office.chartcolorstyle+xml"/>
  <Override PartName="/ppt/tags/tag103.xml" ContentType="application/vnd.openxmlformats-officedocument.presentationml.tags+xml"/>
  <Override PartName="/ppt/notesSlides/notesSlide31.xml" ContentType="application/vnd.openxmlformats-officedocument.presentationml.notesSlide+xml"/>
  <Override PartName="/ppt/charts/chart73.xml" ContentType="application/vnd.openxmlformats-officedocument.drawingml.chart+xml"/>
  <Override PartName="/ppt/charts/style19.xml" ContentType="application/vnd.ms-office.chartstyle+xml"/>
  <Override PartName="/ppt/charts/colors19.xml" ContentType="application/vnd.ms-office.chartcolorstyle+xml"/>
  <Override PartName="/ppt/tags/tag104.xml" ContentType="application/vnd.openxmlformats-officedocument.presentationml.tags+xml"/>
  <Override PartName="/ppt/notesSlides/notesSlide32.xml" ContentType="application/vnd.openxmlformats-officedocument.presentationml.notesSlide+xml"/>
  <Override PartName="/ppt/charts/chart74.xml" ContentType="application/vnd.openxmlformats-officedocument.drawingml.chart+xml"/>
  <Override PartName="/ppt/charts/style20.xml" ContentType="application/vnd.ms-office.chartstyle+xml"/>
  <Override PartName="/ppt/charts/colors20.xml" ContentType="application/vnd.ms-office.chartcolorstyle+xml"/>
  <Override PartName="/ppt/tags/tag105.xml" ContentType="application/vnd.openxmlformats-officedocument.presentationml.tags+xml"/>
  <Override PartName="/ppt/notesSlides/notesSlide33.xml" ContentType="application/vnd.openxmlformats-officedocument.presentationml.notesSlide+xml"/>
  <Override PartName="/ppt/charts/chart75.xml" ContentType="application/vnd.openxmlformats-officedocument.drawingml.chart+xml"/>
  <Override PartName="/ppt/charts/style21.xml" ContentType="application/vnd.ms-office.chartstyle+xml"/>
  <Override PartName="/ppt/charts/colors21.xml" ContentType="application/vnd.ms-office.chartcolorstyle+xml"/>
  <Override PartName="/ppt/tags/tag106.xml" ContentType="application/vnd.openxmlformats-officedocument.presentationml.tags+xml"/>
  <Override PartName="/ppt/notesSlides/notesSlide34.xml" ContentType="application/vnd.openxmlformats-officedocument.presentationml.notesSlide+xml"/>
  <Override PartName="/ppt/charts/chart76.xml" ContentType="application/vnd.openxmlformats-officedocument.drawingml.chart+xml"/>
  <Override PartName="/ppt/charts/style22.xml" ContentType="application/vnd.ms-office.chartstyle+xml"/>
  <Override PartName="/ppt/charts/colors22.xml" ContentType="application/vnd.ms-office.chartcolorstyle+xml"/>
  <Override PartName="/ppt/tags/tag107.xml" ContentType="application/vnd.openxmlformats-officedocument.presentationml.tags+xml"/>
  <Override PartName="/ppt/notesSlides/notesSlide35.xml" ContentType="application/vnd.openxmlformats-officedocument.presentationml.notesSlide+xml"/>
  <Override PartName="/ppt/charts/chart77.xml" ContentType="application/vnd.openxmlformats-officedocument.drawingml.chart+xml"/>
  <Override PartName="/ppt/charts/style23.xml" ContentType="application/vnd.ms-office.chartstyle+xml"/>
  <Override PartName="/ppt/charts/colors23.xml" ContentType="application/vnd.ms-office.chartcolorstyle+xml"/>
  <Override PartName="/ppt/tags/tag108.xml" ContentType="application/vnd.openxmlformats-officedocument.presentationml.tags+xml"/>
  <Override PartName="/ppt/notesSlides/notesSlide36.xml" ContentType="application/vnd.openxmlformats-officedocument.presentationml.notesSlide+xml"/>
  <Override PartName="/ppt/charts/chart78.xml" ContentType="application/vnd.openxmlformats-officedocument.drawingml.chart+xml"/>
  <Override PartName="/ppt/charts/style24.xml" ContentType="application/vnd.ms-office.chartstyle+xml"/>
  <Override PartName="/ppt/charts/colors24.xml" ContentType="application/vnd.ms-office.chartcolorstyle+xml"/>
  <Override PartName="/ppt/tags/tag109.xml" ContentType="application/vnd.openxmlformats-officedocument.presentationml.tags+xml"/>
  <Override PartName="/ppt/notesSlides/notesSlide37.xml" ContentType="application/vnd.openxmlformats-officedocument.presentationml.notesSlide+xml"/>
  <Override PartName="/ppt/charts/chart79.xml" ContentType="application/vnd.openxmlformats-officedocument.drawingml.chart+xml"/>
  <Override PartName="/ppt/charts/style25.xml" ContentType="application/vnd.ms-office.chartstyle+xml"/>
  <Override PartName="/ppt/charts/colors25.xml" ContentType="application/vnd.ms-office.chartcolorstyle+xml"/>
  <Override PartName="/ppt/tags/tag110.xml" ContentType="application/vnd.openxmlformats-officedocument.presentationml.tags+xml"/>
  <Override PartName="/ppt/notesSlides/notesSlide38.xml" ContentType="application/vnd.openxmlformats-officedocument.presentationml.notesSlide+xml"/>
  <Override PartName="/ppt/charts/chart80.xml" ContentType="application/vnd.openxmlformats-officedocument.drawingml.chart+xml"/>
  <Override PartName="/ppt/charts/style26.xml" ContentType="application/vnd.ms-office.chartstyle+xml"/>
  <Override PartName="/ppt/charts/colors26.xml" ContentType="application/vnd.ms-office.chartcolorstyle+xml"/>
  <Override PartName="/ppt/tags/tag111.xml" ContentType="application/vnd.openxmlformats-officedocument.presentationml.tags+xml"/>
  <Override PartName="/ppt/notesSlides/notesSlide39.xml" ContentType="application/vnd.openxmlformats-officedocument.presentationml.notesSlide+xml"/>
  <Override PartName="/ppt/charts/chart81.xml" ContentType="application/vnd.openxmlformats-officedocument.drawingml.chart+xml"/>
  <Override PartName="/ppt/charts/style27.xml" ContentType="application/vnd.ms-office.chartstyle+xml"/>
  <Override PartName="/ppt/charts/colors27.xml" ContentType="application/vnd.ms-office.chartcolorstyle+xml"/>
  <Override PartName="/ppt/tags/tag112.xml" ContentType="application/vnd.openxmlformats-officedocument.presentationml.tags+xml"/>
  <Override PartName="/ppt/notesSlides/notesSlide40.xml" ContentType="application/vnd.openxmlformats-officedocument.presentationml.notesSlide+xml"/>
  <Override PartName="/ppt/charts/chart82.xml" ContentType="application/vnd.openxmlformats-officedocument.drawingml.chart+xml"/>
  <Override PartName="/ppt/charts/style28.xml" ContentType="application/vnd.ms-office.chartstyle+xml"/>
  <Override PartName="/ppt/charts/colors28.xml" ContentType="application/vnd.ms-office.chartcolorstyle+xml"/>
  <Override PartName="/ppt/tags/tag113.xml" ContentType="application/vnd.openxmlformats-officedocument.presentationml.tags+xml"/>
  <Override PartName="/ppt/notesSlides/notesSlide41.xml" ContentType="application/vnd.openxmlformats-officedocument.presentationml.notesSlide+xml"/>
  <Override PartName="/ppt/charts/chart83.xml" ContentType="application/vnd.openxmlformats-officedocument.drawingml.chart+xml"/>
  <Override PartName="/ppt/charts/style29.xml" ContentType="application/vnd.ms-office.chartstyle+xml"/>
  <Override PartName="/ppt/charts/colors29.xml" ContentType="application/vnd.ms-office.chartcolorstyle+xml"/>
  <Override PartName="/ppt/tags/tag114.xml" ContentType="application/vnd.openxmlformats-officedocument.presentationml.tags+xml"/>
  <Override PartName="/ppt/notesSlides/notesSlide42.xml" ContentType="application/vnd.openxmlformats-officedocument.presentationml.notesSlide+xml"/>
  <Override PartName="/ppt/charts/chart84.xml" ContentType="application/vnd.openxmlformats-officedocument.drawingml.chart+xml"/>
  <Override PartName="/ppt/charts/style30.xml" ContentType="application/vnd.ms-office.chartstyle+xml"/>
  <Override PartName="/ppt/charts/colors30.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92"/>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25E4104B-4FEE-463C-B9BB-AC4E248DA5CC}">
          <p14:sldIdLst>
            <p14:sldId id="2147477365"/>
            <p14:sldId id="2147477366"/>
            <p14:sldId id="2147477367"/>
          </p14:sldIdLst>
        </p14:section>
        <p14:section name="Price Positioning Summary Sector" id="{F6411343-8BFC-4346-8605-14DE4CB2646B}">
          <p14:sldIdLst>
            <p14:sldId id="2147477368"/>
            <p14:sldId id="2147477369"/>
            <p14:sldId id="2147477370"/>
          </p14:sldIdLst>
        </p14:section>
        <p14:section name="Price Positioning Summary Segment" id="{45195E86-FF6A-48B6-AA87-CF4798C0772D}">
          <p14:sldIdLst>
            <p14:sldId id="2147477371"/>
            <p14:sldId id="2147477372"/>
            <p14:sldId id="2147477373"/>
          </p14:sldIdLst>
        </p14:section>
        <p14:section name="Price Positioning Analysis By Brands" id="{0FC27D32-76E9-464B-AA6F-3240ED265FF3}">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Lst>
        </p14:section>
        <p14:section name="Price Positioning Analysis By Manufacturer" id="{3120F990-4AD1-485F-853E-269A1E72D3CE}">
          <p14:sldIdLst>
            <p14:sldId id="2147477392"/>
            <p14:sldId id="2147477393"/>
            <p14:sldId id="2147477394"/>
            <p14:sldId id="2147477395"/>
            <p14:sldId id="2147477396"/>
            <p14:sldId id="2147477397"/>
            <p14:sldId id="2147477398"/>
            <p14:sldId id="2147477399"/>
            <p14:sldId id="2147477400"/>
            <p14:sldId id="2147477401"/>
            <p14:sldId id="2147477402"/>
            <p14:sldId id="2147477403"/>
            <p14:sldId id="2147477404"/>
            <p14:sldId id="2147477405"/>
            <p14:sldId id="2147477406"/>
            <p14:sldId id="2147477407"/>
            <p14:sldId id="2147477408"/>
            <p14:sldId id="2147477409"/>
          </p14:sldIdLst>
        </p14:section>
        <p14:section name="Sectors Share and Growth By Brands" id="{D73E0A34-062F-44E7-B17B-AFD84AAF2B91}">
          <p14:sldIdLst>
            <p14:sldId id="2147477410"/>
            <p14:sldId id="2147477411"/>
            <p14:sldId id="2147477412"/>
          </p14:sldIdLst>
        </p14:section>
        <p14:section name="Segments Share and Growth By Brands" id="{C9C70333-9742-429A-8362-15F8CFD4367A}">
          <p14:sldIdLst>
            <p14:sldId id="2147477413"/>
            <p14:sldId id="2147477414"/>
            <p14:sldId id="2147477415"/>
          </p14:sldIdLst>
        </p14:section>
        <p14:section name="Sectors Share and Growth By Manufacturer" id="{562DAA8F-80C3-49C0-AAA6-044A73DFA039}">
          <p14:sldIdLst>
            <p14:sldId id="2147477416"/>
            <p14:sldId id="2147477417"/>
            <p14:sldId id="2147477418"/>
          </p14:sldIdLst>
        </p14:section>
        <p14:section name="Segments Share and Growth By Manufacturer" id="{FF6B0FE9-F791-4D46-8995-BAC26D7C1195}">
          <p14:sldIdLst>
            <p14:sldId id="2147477419"/>
            <p14:sldId id="2147477420"/>
            <p14:sldId id="2147477421"/>
          </p14:sldIdLst>
        </p14:section>
        <p14:section name="Sec/Seg Value Sales Vs Avg Price By Manufacturer" id="{4AE185AC-F733-4BB0-BE05-EE1186ACC46C}">
          <p14:sldIdLst>
            <p14:sldId id="2147477422"/>
            <p14:sldId id="2147477423"/>
            <p14:sldId id="2147477424"/>
          </p14:sldIdLst>
        </p14:section>
        <p14:section name="Sec/Seg Value Sales Vs Avg Price" id="{15437596-63BD-477D-A37D-097BE83BC11E}">
          <p14:sldIdLst>
            <p14:sldId id="2147477425"/>
            <p14:sldId id="2147477426"/>
            <p14:sldId id="2147477427"/>
            <p14:sldId id="2147477428"/>
            <p14:sldId id="2147477429"/>
            <p14:sldId id="2147477430"/>
            <p14:sldId id="2147477431"/>
            <p14:sldId id="2147477432"/>
            <p14:sldId id="2147477433"/>
          </p14:sldIdLst>
        </p14:section>
        <p14:section name="Sectors Value Sales Vs Avg Price" id="{2F4BD065-E314-485B-9713-A4C53EB04375}">
          <p14:sldIdLst>
            <p14:sldId id="2147477434"/>
            <p14:sldId id="2147477435"/>
            <p14:sldId id="2147477436"/>
            <p14:sldId id="2147477437"/>
            <p14:sldId id="2147477438"/>
            <p14:sldId id="2147477439"/>
            <p14:sldId id="2147477440"/>
            <p14:sldId id="2147477441"/>
            <p14:sldId id="2147477442"/>
          </p14:sldIdLst>
        </p14:section>
        <p14:section name="Segment Value Sales Vs Avg Price" id="{37F37717-132E-446F-B726-9F8E1AC68FA9}">
          <p14:sldIdLst>
            <p14:sldId id="2147477443"/>
            <p14:sldId id="2147477444"/>
            <p14:sldId id="2147477445"/>
            <p14:sldId id="2147477446"/>
            <p14:sldId id="2147477447"/>
            <p14:sldId id="2147477448"/>
            <p14:sldId id="2147477449"/>
            <p14:sldId id="2147477450"/>
            <p14:sldId id="2147477451"/>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966" y="84"/>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1.xml"/><Relationship Id="rId1" Type="http://schemas.microsoft.com/office/2011/relationships/chartStyle" Target="style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2.xml"/><Relationship Id="rId1" Type="http://schemas.microsoft.com/office/2011/relationships/chartStyle" Target="style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3.xml"/><Relationship Id="rId1" Type="http://schemas.microsoft.com/office/2011/relationships/chartStyle" Target="style3.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4.xml"/><Relationship Id="rId1" Type="http://schemas.microsoft.com/office/2011/relationships/chartStyle" Target="style4.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xml"/><Relationship Id="rId1" Type="http://schemas.microsoft.com/office/2011/relationships/chartStyle" Target="style6.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7.xml"/><Relationship Id="rId1" Type="http://schemas.microsoft.com/office/2011/relationships/chartStyle" Target="style7.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8.xml"/><Relationship Id="rId1" Type="http://schemas.microsoft.com/office/2011/relationships/chartStyle" Target="style8.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9.xml"/><Relationship Id="rId1" Type="http://schemas.microsoft.com/office/2011/relationships/chartStyle" Target="style9.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0.xml"/><Relationship Id="rId1" Type="http://schemas.microsoft.com/office/2011/relationships/chartStyle" Target="style10.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1.xml"/><Relationship Id="rId1" Type="http://schemas.microsoft.com/office/2011/relationships/chartStyle" Target="style11.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2.xml"/><Relationship Id="rId1" Type="http://schemas.microsoft.com/office/2011/relationships/chartStyle" Target="style12.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3.xml"/><Relationship Id="rId1" Type="http://schemas.microsoft.com/office/2011/relationships/chartStyle" Target="style1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14.xml"/><Relationship Id="rId1" Type="http://schemas.microsoft.com/office/2011/relationships/chartStyle" Target="style1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15.xml"/><Relationship Id="rId1" Type="http://schemas.microsoft.com/office/2011/relationships/chartStyle" Target="style1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16.xml"/><Relationship Id="rId1" Type="http://schemas.microsoft.com/office/2011/relationships/chartStyle" Target="style16.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17.xml"/><Relationship Id="rId1" Type="http://schemas.microsoft.com/office/2011/relationships/chartStyle" Target="style1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18.xml"/><Relationship Id="rId1" Type="http://schemas.microsoft.com/office/2011/relationships/chartStyle" Target="style18.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19.xml"/><Relationship Id="rId1" Type="http://schemas.microsoft.com/office/2011/relationships/chartStyle" Target="style19.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0.xml"/><Relationship Id="rId1" Type="http://schemas.microsoft.com/office/2011/relationships/chartStyle" Target="style20.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1.xml"/><Relationship Id="rId1" Type="http://schemas.microsoft.com/office/2011/relationships/chartStyle" Target="style21.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22.xml"/><Relationship Id="rId1" Type="http://schemas.microsoft.com/office/2011/relationships/chartStyle" Target="style22.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23.xml"/><Relationship Id="rId1" Type="http://schemas.microsoft.com/office/2011/relationships/chartStyle" Target="style23.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24.xml"/><Relationship Id="rId1" Type="http://schemas.microsoft.com/office/2011/relationships/chartStyle" Target="style24.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25.xml"/><Relationship Id="rId1" Type="http://schemas.microsoft.com/office/2011/relationships/chartStyle" Target="style2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26.xml"/><Relationship Id="rId1" Type="http://schemas.microsoft.com/office/2011/relationships/chartStyle" Target="style26.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27.xml"/><Relationship Id="rId1" Type="http://schemas.microsoft.com/office/2011/relationships/chartStyle" Target="style27.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28.xml"/><Relationship Id="rId1" Type="http://schemas.microsoft.com/office/2011/relationships/chartStyle" Target="style28.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29.xml"/><Relationship Id="rId1" Type="http://schemas.microsoft.com/office/2011/relationships/chartStyle" Target="style29.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30.xml"/><Relationship Id="rId1" Type="http://schemas.microsoft.com/office/2011/relationships/chartStyle" Target="style30.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5F4F3F4-2FA9-4242-A71F-79CA0FD74C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BB6351-485A-4D09-AABC-3D42EFA39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0D5463D-0724-4A27-8370-9F2B909D74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3413EC5-5AD4-4EFB-AE96-8B6DC90304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3E4855-AC9D-44F8-960C-19D14E67C6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212685-22F9-4C57-8D47-F278156D88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0CF40D2-EC1A-457B-B415-DC13049499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9A82E39-37D7-431A-96D5-EC34BE1BCB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67999999999999</c:v>
                </c:pt>
                <c:pt idx="1">
                  <c:v>2.2883</c:v>
                </c:pt>
                <c:pt idx="2">
                  <c:v>2.3494999999999999</c:v>
                </c:pt>
                <c:pt idx="3">
                  <c:v>2.8965999999999998</c:v>
                </c:pt>
                <c:pt idx="4">
                  <c:v>2.7610999999999999</c:v>
                </c:pt>
                <c:pt idx="5">
                  <c:v>3.2810999999999999</c:v>
                </c:pt>
                <c:pt idx="6">
                  <c:v>2.9582999999999999</c:v>
                </c:pt>
                <c:pt idx="7">
                  <c:v>2.5383</c:v>
                </c:pt>
              </c:numCache>
            </c:numRef>
          </c:xVal>
          <c:yVal>
            <c:numRef>
              <c:f>Sheet1!$B$2:$B$9</c:f>
              <c:numCache>
                <c:formatCode>General</c:formatCode>
                <c:ptCount val="8"/>
                <c:pt idx="0">
                  <c:v>0.84499999999999997</c:v>
                </c:pt>
                <c:pt idx="1">
                  <c:v>0.78500000000000003</c:v>
                </c:pt>
                <c:pt idx="2">
                  <c:v>1.1180000000000001</c:v>
                </c:pt>
                <c:pt idx="3">
                  <c:v>1.1040000000000001</c:v>
                </c:pt>
                <c:pt idx="4">
                  <c:v>1.04</c:v>
                </c:pt>
                <c:pt idx="5">
                  <c:v>0.9</c:v>
                </c:pt>
                <c:pt idx="6">
                  <c:v>1.1100000000000001</c:v>
                </c:pt>
                <c:pt idx="7">
                  <c:v>1.5</c:v>
                </c:pt>
              </c:numCache>
            </c:numRef>
          </c:yVal>
          <c:bubbleSize>
            <c:numRef>
              <c:f>Sheet1!$C$2:$C$9</c:f>
              <c:numCache>
                <c:formatCode>General</c:formatCode>
                <c:ptCount val="8"/>
                <c:pt idx="0">
                  <c:v>523033042</c:v>
                </c:pt>
                <c:pt idx="1">
                  <c:v>58759599</c:v>
                </c:pt>
                <c:pt idx="2">
                  <c:v>58401688</c:v>
                </c:pt>
                <c:pt idx="3">
                  <c:v>54596188</c:v>
                </c:pt>
                <c:pt idx="4">
                  <c:v>48716929</c:v>
                </c:pt>
                <c:pt idx="5">
                  <c:v>35786138</c:v>
                </c:pt>
                <c:pt idx="6">
                  <c:v>29293535</c:v>
                </c:pt>
                <c:pt idx="7">
                  <c:v>2589272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4A1E32C-B4C1-4B5E-8ECB-1BB273840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8F91980-BB88-4791-A216-D9666C9F7E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64B27CD-F699-4C5F-8891-F035E6C72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C44B81-DA5C-4252-9F93-25DC44590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A92A23E-F68A-4649-86BA-EB63C21CA3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11AD914-5682-4432-A905-4846B5147A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055F6B3-7F21-4EA4-961E-860FE41639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FF9B62-EB42-4C50-960C-0F78AC7BBB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02DE4155-BACE-4DCE-972C-3680DB622A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19CC2496-262E-4833-AFEF-5D53E630E3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9604F5D2-F5F1-4840-80B9-5B87EA8067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EBED7E0-035F-4A38-BB1E-D2F967661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CC8F22FF-94E3-4C8D-91A4-E3F5BA6ED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3E7BD79C-9A7E-4FCE-93B4-1C12681703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A7CAAB8F-E431-4DAB-9BCC-2EA5410BC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6C78CFF8-2BF9-453D-9DBE-0D8914784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4899</c:v>
                </c:pt>
                <c:pt idx="7">
                  <c:v>13</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5089999999999999</c:v>
                </c:pt>
                <c:pt idx="7">
                  <c:v>1.17</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1258428</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90D512B9-2B41-407C-A8A3-0BEBC168A8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F9E5DC48-9CC6-40C6-BA68-7211A39DB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F497023F-C3A2-402C-828A-6D3A5ABC03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B6AA97F-01D8-4B14-BE8F-A3E0744A48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E589FB1F-ADDC-49D6-A56B-A4D4061FA7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D62E8355-826E-4B45-B804-D45BEEF6CA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FDC0FCD-06AB-4614-943B-A9B6C3C9B6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258B90ED-3DA8-4DC3-8949-8D5BD8B0B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300000000000002</c:v>
                </c:pt>
                <c:pt idx="1">
                  <c:v>1.0309999999999999</c:v>
                </c:pt>
                <c:pt idx="2">
                  <c:v>1.1739999999999999</c:v>
                </c:pt>
                <c:pt idx="3">
                  <c:v>1.04</c:v>
                </c:pt>
                <c:pt idx="4">
                  <c:v>1.427</c:v>
                </c:pt>
                <c:pt idx="5">
                  <c:v>1.472</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E46BD9A-5FD6-4111-B88D-D12FAB3719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B90F740-400E-4A75-91B2-524E875A1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67734AD-BE32-46AF-B8F5-02FE32F6DF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176FFDF-6547-4AB9-8B62-A82EF93B46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A2CC91-8797-4278-9459-79308C801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D2B8AF-12A7-4967-B921-27830F2629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6D13701-D627-4E34-A2A4-FE46F2B315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E69983-B803-4F06-9AA4-85E3591B57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5E34F0D0-ACBB-466C-B8BA-A929B90937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5EA092D5-3DC6-4316-835F-D8B5587A64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67ABF50-C4DF-45FE-AB46-6EEA3155C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EAA2CD9-7F9F-484E-A6CC-84E05BA8B3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4E00D92-5806-41DE-AD51-9487AB8E01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67762F17-AE39-47FD-AD6A-356EF4AE52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38DBA008-0CAB-4B27-88F5-EC935B921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CDAF417-F6CD-43DD-9898-CAA21EEFD9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028999999999999</c:v>
                </c:pt>
                <c:pt idx="1">
                  <c:v>2.4232</c:v>
                </c:pt>
                <c:pt idx="2">
                  <c:v>1.6344000000000001</c:v>
                </c:pt>
                <c:pt idx="3">
                  <c:v>2.3706</c:v>
                </c:pt>
                <c:pt idx="4">
                  <c:v>2.4558</c:v>
                </c:pt>
                <c:pt idx="5">
                  <c:v>2.4186999999999999</c:v>
                </c:pt>
                <c:pt idx="6">
                  <c:v>2.6312000000000002</c:v>
                </c:pt>
                <c:pt idx="7">
                  <c:v>13</c:v>
                </c:pt>
              </c:numCache>
            </c:numRef>
          </c:xVal>
          <c:yVal>
            <c:numRef>
              <c:f>Sheet1!$B$2:$B$9</c:f>
              <c:numCache>
                <c:formatCode>General</c:formatCode>
                <c:ptCount val="8"/>
                <c:pt idx="0">
                  <c:v>1.1180000000000001</c:v>
                </c:pt>
                <c:pt idx="1">
                  <c:v>0.95799999999999996</c:v>
                </c:pt>
                <c:pt idx="2">
                  <c:v>0.69299999999999995</c:v>
                </c:pt>
                <c:pt idx="3">
                  <c:v>1.0740000000000001</c:v>
                </c:pt>
                <c:pt idx="4">
                  <c:v>1.3029999999999999</c:v>
                </c:pt>
                <c:pt idx="5">
                  <c:v>1.006</c:v>
                </c:pt>
                <c:pt idx="6">
                  <c:v>1.4079999999999999</c:v>
                </c:pt>
                <c:pt idx="7">
                  <c:v>1.081</c:v>
                </c:pt>
              </c:numCache>
            </c:numRef>
          </c:yVal>
          <c:bubbleSize>
            <c:numRef>
              <c:f>Sheet1!$C$2:$C$9</c:f>
              <c:numCache>
                <c:formatCode>General</c:formatCode>
                <c:ptCount val="8"/>
                <c:pt idx="0">
                  <c:v>8811592</c:v>
                </c:pt>
                <c:pt idx="1">
                  <c:v>4758479</c:v>
                </c:pt>
                <c:pt idx="2">
                  <c:v>3845963</c:v>
                </c:pt>
                <c:pt idx="3">
                  <c:v>3148857</c:v>
                </c:pt>
                <c:pt idx="4">
                  <c:v>3035900</c:v>
                </c:pt>
                <c:pt idx="5">
                  <c:v>2202030</c:v>
                </c:pt>
                <c:pt idx="6">
                  <c:v>306866</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70C3BFE-76BB-4C6F-A7B7-997D7D10B7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BD2F1867-3AFD-4867-9CAC-E234B192F0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3A1D6E08-B152-41AA-B62B-D13A804390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5859AF04-676A-4302-BAC7-AB8D826DE2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6713A00D-E43A-4F38-883C-C170D632FA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AB09525-2937-4ABD-824E-9905D4EA99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36BC3538-92E8-4C70-B758-0CB2CF909D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4DD010E7-7988-4CD6-9EB1-372A9E68BE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5FB3F52-8788-496A-AC56-DBDC7C6FC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8DB153-1D3E-45AE-BA1D-19F37E98E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E5EF422-F65D-4F7B-B3AA-73073EE554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5C0194-9CCA-4930-95C7-9B23C51C6AA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5ECE1D7-9AB1-4DE2-8F1F-B28D30D640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D87188F-D229-4740-AC38-454EEE30C6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3DDFEF-D0C6-4460-9F3E-BA859A27DA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8769177-19BD-43EB-9F93-67737CFB73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CDBDE31-6ECE-449A-BC2B-1E694B281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F49065B3-0960-4A1E-B311-6F80CD8FF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7787823-7D91-47CD-963B-FB56057614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9FA4B220-E4A4-4C80-A0DF-7F929539CE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82F6952-7A09-42B4-A248-C584BCFADD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DF5AFAC7-385E-446C-91F9-F4936FB52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5EF06804-BACD-41CE-8A48-E8010EE00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F31634FF-220F-4136-B912-641F1B191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885999999999999</c:v>
                </c:pt>
                <c:pt idx="1">
                  <c:v>1.3731</c:v>
                </c:pt>
                <c:pt idx="2">
                  <c:v>2.4413999999999998</c:v>
                </c:pt>
                <c:pt idx="3">
                  <c:v>2.536</c:v>
                </c:pt>
                <c:pt idx="4">
                  <c:v>2.3258999999999999</c:v>
                </c:pt>
                <c:pt idx="5">
                  <c:v>2.4405000000000001</c:v>
                </c:pt>
                <c:pt idx="6">
                  <c:v>2.4830000000000001</c:v>
                </c:pt>
                <c:pt idx="7">
                  <c:v>2.4062000000000001</c:v>
                </c:pt>
              </c:numCache>
            </c:numRef>
          </c:xVal>
          <c:yVal>
            <c:numRef>
              <c:f>Sheet1!$B$2:$B$9</c:f>
              <c:numCache>
                <c:formatCode>General</c:formatCode>
                <c:ptCount val="8"/>
                <c:pt idx="0">
                  <c:v>1.0760000000000001</c:v>
                </c:pt>
                <c:pt idx="1">
                  <c:v>0.67600000000000005</c:v>
                </c:pt>
                <c:pt idx="2">
                  <c:v>0.96299999999999997</c:v>
                </c:pt>
                <c:pt idx="3">
                  <c:v>1.319</c:v>
                </c:pt>
                <c:pt idx="4">
                  <c:v>1.081</c:v>
                </c:pt>
                <c:pt idx="5">
                  <c:v>1.038</c:v>
                </c:pt>
                <c:pt idx="6">
                  <c:v>0.98599999999999999</c:v>
                </c:pt>
                <c:pt idx="7">
                  <c:v>1.6379999999999999</c:v>
                </c:pt>
              </c:numCache>
            </c:numRef>
          </c:yVal>
          <c:bubbleSize>
            <c:numRef>
              <c:f>Sheet1!$C$2:$C$9</c:f>
              <c:numCache>
                <c:formatCode>General</c:formatCode>
                <c:ptCount val="8"/>
                <c:pt idx="0">
                  <c:v>8620814</c:v>
                </c:pt>
                <c:pt idx="1">
                  <c:v>3677885</c:v>
                </c:pt>
                <c:pt idx="2">
                  <c:v>3671057</c:v>
                </c:pt>
                <c:pt idx="3">
                  <c:v>3468819</c:v>
                </c:pt>
                <c:pt idx="4">
                  <c:v>2960143</c:v>
                </c:pt>
                <c:pt idx="5">
                  <c:v>1853432</c:v>
                </c:pt>
                <c:pt idx="6">
                  <c:v>911380</c:v>
                </c:pt>
                <c:pt idx="7">
                  <c:v>17410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pt idx="7">
                    <c:v>Kiri</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4E9C0E02-20F1-4AB7-A40C-BCE80F780E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C5A90E61-7E39-4BFF-A57C-4E6A568CA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62A48F36-1B55-4A73-B959-D4C89CC6E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0AF6DE45-82D7-4DF7-B890-4A9FE39713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CF54BA64-1330-4E63-B40A-BCBE2BC1A9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615E6E4E-0CFF-44B3-AED0-D5D24B55FA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9EB668A1-E8F0-4643-96AB-39F43679F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E1D26F14-52BF-46D1-B12A-981ADF2B87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6799999999999999</c:v>
                </c:pt>
                <c:pt idx="1">
                  <c:v>1.0820000000000001</c:v>
                </c:pt>
                <c:pt idx="2">
                  <c:v>1.048</c:v>
                </c:pt>
                <c:pt idx="3">
                  <c:v>1.2310000000000001</c:v>
                </c:pt>
                <c:pt idx="4">
                  <c:v>1.5529999999999999</c:v>
                </c:pt>
                <c:pt idx="5">
                  <c:v>1.615</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1E7AAB2-6801-4E86-A6D1-BBA1300F3E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97F162E-3C43-4A59-B8D1-538983E36E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96F7B4-5600-4855-B80F-D34E1BCD48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F52796F-5283-45B4-B085-8DC568676C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85D81B-B1F3-4EEA-8EEB-56284229AE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8ACF1AF-6ABB-45DA-95BF-7D7029498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9D48EB5-1033-4004-BCFB-E3E9FC1F7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A4389B-7C12-4EC8-B23B-17F28DABDF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67999999999999</c:v>
                </c:pt>
                <c:pt idx="1">
                  <c:v>2.2883</c:v>
                </c:pt>
                <c:pt idx="2">
                  <c:v>2.3494999999999999</c:v>
                </c:pt>
                <c:pt idx="3">
                  <c:v>2.8965999999999998</c:v>
                </c:pt>
                <c:pt idx="4">
                  <c:v>2.7610999999999999</c:v>
                </c:pt>
                <c:pt idx="5">
                  <c:v>3.2810999999999999</c:v>
                </c:pt>
                <c:pt idx="6">
                  <c:v>2.9582999999999999</c:v>
                </c:pt>
                <c:pt idx="7">
                  <c:v>2.5383</c:v>
                </c:pt>
              </c:numCache>
            </c:numRef>
          </c:xVal>
          <c:yVal>
            <c:numRef>
              <c:f>Sheet1!$B$2:$B$9</c:f>
              <c:numCache>
                <c:formatCode>General</c:formatCode>
                <c:ptCount val="8"/>
                <c:pt idx="0">
                  <c:v>0.84499999999999997</c:v>
                </c:pt>
                <c:pt idx="1">
                  <c:v>0.78500000000000003</c:v>
                </c:pt>
                <c:pt idx="2">
                  <c:v>1.1180000000000001</c:v>
                </c:pt>
                <c:pt idx="3">
                  <c:v>1.1040000000000001</c:v>
                </c:pt>
                <c:pt idx="4">
                  <c:v>1.04</c:v>
                </c:pt>
                <c:pt idx="5">
                  <c:v>0.9</c:v>
                </c:pt>
                <c:pt idx="6">
                  <c:v>1.1100000000000001</c:v>
                </c:pt>
                <c:pt idx="7">
                  <c:v>1.5</c:v>
                </c:pt>
              </c:numCache>
            </c:numRef>
          </c:yVal>
          <c:bubbleSize>
            <c:numRef>
              <c:f>Sheet1!$C$2:$C$9</c:f>
              <c:numCache>
                <c:formatCode>General</c:formatCode>
                <c:ptCount val="8"/>
                <c:pt idx="0">
                  <c:v>523033042</c:v>
                </c:pt>
                <c:pt idx="1">
                  <c:v>58759599</c:v>
                </c:pt>
                <c:pt idx="2">
                  <c:v>58401688</c:v>
                </c:pt>
                <c:pt idx="3">
                  <c:v>54596188</c:v>
                </c:pt>
                <c:pt idx="4">
                  <c:v>48716929</c:v>
                </c:pt>
                <c:pt idx="5">
                  <c:v>35786138</c:v>
                </c:pt>
                <c:pt idx="6">
                  <c:v>29293535</c:v>
                </c:pt>
                <c:pt idx="7">
                  <c:v>25892721</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878DB0D-5B56-487B-B186-89C3672920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5B3F883-2B5F-4049-8C56-F6D6EC1FE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21D717-EA69-44C4-9C66-09EA643B1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F1F0407-976C-4618-B6D3-2D607AE4BB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425ACF2-738B-428B-AE72-5F9E42B242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AD52D18-7987-4277-9812-666CC7F975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A6F6871-DB96-4097-8302-F6157BEF7F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DEB0750-D57E-4D12-AF3F-9925C10487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96000000000002</c:v>
                </c:pt>
                <c:pt idx="1">
                  <c:v>2.4110999999999998</c:v>
                </c:pt>
                <c:pt idx="2">
                  <c:v>2.9895</c:v>
                </c:pt>
                <c:pt idx="3">
                  <c:v>2.3096999999999999</c:v>
                </c:pt>
                <c:pt idx="4">
                  <c:v>2.8786</c:v>
                </c:pt>
                <c:pt idx="5">
                  <c:v>3.2258</c:v>
                </c:pt>
                <c:pt idx="6">
                  <c:v>2.9295</c:v>
                </c:pt>
                <c:pt idx="7">
                  <c:v>2.5108999999999999</c:v>
                </c:pt>
              </c:numCache>
            </c:numRef>
          </c:xVal>
          <c:yVal>
            <c:numRef>
              <c:f>Sheet1!$B$2:$B$9</c:f>
              <c:numCache>
                <c:formatCode>General</c:formatCode>
                <c:ptCount val="8"/>
                <c:pt idx="0">
                  <c:v>0.86899999999999999</c:v>
                </c:pt>
                <c:pt idx="1">
                  <c:v>0.747</c:v>
                </c:pt>
                <c:pt idx="2">
                  <c:v>1.079</c:v>
                </c:pt>
                <c:pt idx="3">
                  <c:v>1.0529999999999999</c:v>
                </c:pt>
                <c:pt idx="4">
                  <c:v>1.0029999999999999</c:v>
                </c:pt>
                <c:pt idx="5">
                  <c:v>0.80500000000000005</c:v>
                </c:pt>
                <c:pt idx="6">
                  <c:v>0.98399999999999999</c:v>
                </c:pt>
                <c:pt idx="7">
                  <c:v>1.4279999999999999</c:v>
                </c:pt>
              </c:numCache>
            </c:numRef>
          </c:yVal>
          <c:bubbleSize>
            <c:numRef>
              <c:f>Sheet1!$C$2:$C$9</c:f>
              <c:numCache>
                <c:formatCode>General</c:formatCode>
                <c:ptCount val="8"/>
                <c:pt idx="0">
                  <c:v>78402914</c:v>
                </c:pt>
                <c:pt idx="1">
                  <c:v>9302551</c:v>
                </c:pt>
                <c:pt idx="2">
                  <c:v>9161063</c:v>
                </c:pt>
                <c:pt idx="3">
                  <c:v>8667367</c:v>
                </c:pt>
                <c:pt idx="4">
                  <c:v>8594536</c:v>
                </c:pt>
                <c:pt idx="5">
                  <c:v>6741136</c:v>
                </c:pt>
                <c:pt idx="6">
                  <c:v>5831683</c:v>
                </c:pt>
                <c:pt idx="7">
                  <c:v>539631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25AFF40-EA6D-4DC4-B378-90B85FEB31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FA80035-F252-4DC1-868D-018057CD5F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115DCF6-8861-4538-BBFC-49C87875D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779731E-7175-4AA1-B055-C40714B800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30B6A2-1BBF-4936-AC61-E72DD2AA8D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D0F8F63-B623-4DDA-B78F-E72B5C823D0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447EFB5-AAF5-42CF-B052-0990829698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0F54B512-E78A-43E0-B0AB-FF08A18A0A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96000000000002</c:v>
                </c:pt>
                <c:pt idx="1">
                  <c:v>2.4110999999999998</c:v>
                </c:pt>
                <c:pt idx="2">
                  <c:v>2.9895</c:v>
                </c:pt>
                <c:pt idx="3">
                  <c:v>2.3096999999999999</c:v>
                </c:pt>
                <c:pt idx="4">
                  <c:v>2.8786</c:v>
                </c:pt>
                <c:pt idx="5">
                  <c:v>3.2258</c:v>
                </c:pt>
                <c:pt idx="6">
                  <c:v>2.9295</c:v>
                </c:pt>
                <c:pt idx="7">
                  <c:v>2.5108999999999999</c:v>
                </c:pt>
              </c:numCache>
            </c:numRef>
          </c:xVal>
          <c:yVal>
            <c:numRef>
              <c:f>Sheet1!$B$2:$B$9</c:f>
              <c:numCache>
                <c:formatCode>General</c:formatCode>
                <c:ptCount val="8"/>
                <c:pt idx="0">
                  <c:v>0.86899999999999999</c:v>
                </c:pt>
                <c:pt idx="1">
                  <c:v>0.747</c:v>
                </c:pt>
                <c:pt idx="2">
                  <c:v>1.079</c:v>
                </c:pt>
                <c:pt idx="3">
                  <c:v>1.0529999999999999</c:v>
                </c:pt>
                <c:pt idx="4">
                  <c:v>1.0029999999999999</c:v>
                </c:pt>
                <c:pt idx="5">
                  <c:v>0.80500000000000005</c:v>
                </c:pt>
                <c:pt idx="6">
                  <c:v>0.98399999999999999</c:v>
                </c:pt>
                <c:pt idx="7">
                  <c:v>1.4279999999999999</c:v>
                </c:pt>
              </c:numCache>
            </c:numRef>
          </c:yVal>
          <c:bubbleSize>
            <c:numRef>
              <c:f>Sheet1!$C$2:$C$9</c:f>
              <c:numCache>
                <c:formatCode>General</c:formatCode>
                <c:ptCount val="8"/>
                <c:pt idx="0">
                  <c:v>78402914</c:v>
                </c:pt>
                <c:pt idx="1">
                  <c:v>9302551</c:v>
                </c:pt>
                <c:pt idx="2">
                  <c:v>9161063</c:v>
                </c:pt>
                <c:pt idx="3">
                  <c:v>8667367</c:v>
                </c:pt>
                <c:pt idx="4">
                  <c:v>8594536</c:v>
                </c:pt>
                <c:pt idx="5">
                  <c:v>6741136</c:v>
                </c:pt>
                <c:pt idx="6">
                  <c:v>5831683</c:v>
                </c:pt>
                <c:pt idx="7">
                  <c:v>5396319</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2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5D7F86-2AE3-4A99-A0C0-8B2B216BA4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33EEADE-569D-499D-A4DB-F1A6A9BB01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1A89B73-EF12-4F4D-9E35-8B295C69AE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C6DF9661-4E66-4E8F-B6FE-6913DCECB6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5A6EB10-9D21-4B07-ADA2-F285620294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957D1A-5037-4194-8ACA-409BAC67F5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BFE0BB2-6B69-4AB3-9534-CF6A8EF8B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82EB4CB-89DC-4DED-8770-EEBD75A0C0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86000000000002</c:v>
                </c:pt>
                <c:pt idx="1">
                  <c:v>2.4689000000000001</c:v>
                </c:pt>
                <c:pt idx="2">
                  <c:v>2.3700999999999999</c:v>
                </c:pt>
                <c:pt idx="3">
                  <c:v>2.9603000000000002</c:v>
                </c:pt>
                <c:pt idx="4">
                  <c:v>2.7917999999999998</c:v>
                </c:pt>
                <c:pt idx="5">
                  <c:v>3.4443000000000001</c:v>
                </c:pt>
                <c:pt idx="6">
                  <c:v>2.6848999999999998</c:v>
                </c:pt>
                <c:pt idx="7">
                  <c:v>3.0390000000000001</c:v>
                </c:pt>
              </c:numCache>
            </c:numRef>
          </c:xVal>
          <c:yVal>
            <c:numRef>
              <c:f>Sheet1!$B$2:$B$9</c:f>
              <c:numCache>
                <c:formatCode>General</c:formatCode>
                <c:ptCount val="8"/>
                <c:pt idx="0">
                  <c:v>0.83199999999999996</c:v>
                </c:pt>
                <c:pt idx="1">
                  <c:v>1.141</c:v>
                </c:pt>
                <c:pt idx="2">
                  <c:v>0.79800000000000004</c:v>
                </c:pt>
                <c:pt idx="3">
                  <c:v>1.119</c:v>
                </c:pt>
                <c:pt idx="4">
                  <c:v>1.022</c:v>
                </c:pt>
                <c:pt idx="5">
                  <c:v>0.95099999999999996</c:v>
                </c:pt>
                <c:pt idx="6">
                  <c:v>1.5509999999999999</c:v>
                </c:pt>
                <c:pt idx="7">
                  <c:v>1.123</c:v>
                </c:pt>
              </c:numCache>
            </c:numRef>
          </c:yVal>
          <c:bubbleSize>
            <c:numRef>
              <c:f>Sheet1!$C$2:$C$9</c:f>
              <c:numCache>
                <c:formatCode>General</c:formatCode>
                <c:ptCount val="8"/>
                <c:pt idx="0">
                  <c:v>59702866</c:v>
                </c:pt>
                <c:pt idx="1">
                  <c:v>11602323</c:v>
                </c:pt>
                <c:pt idx="2">
                  <c:v>9875140</c:v>
                </c:pt>
                <c:pt idx="3">
                  <c:v>9429711</c:v>
                </c:pt>
                <c:pt idx="4">
                  <c:v>8261704</c:v>
                </c:pt>
                <c:pt idx="5">
                  <c:v>5658598</c:v>
                </c:pt>
                <c:pt idx="6">
                  <c:v>5419020</c:v>
                </c:pt>
                <c:pt idx="7">
                  <c:v>4747021</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F63383-7A15-4B3E-8787-4A64FED49A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981609-A3B3-4525-B3EB-AC76E1C619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04E5C7-69AE-4929-ACA8-24DC87D7C1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DAB96B4-B5AD-42A5-AC8A-8E6516A31D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30FC554-008E-4C21-A53B-FB7FA38217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474685A-2D2A-4D18-9351-4A3A5B074D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B3D1D51-4567-41EA-99FE-18F43E847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1B6BEDC-E992-4582-98E9-050F3B4A08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27000000000002</c:v>
                </c:pt>
                <c:pt idx="1">
                  <c:v>2.2883</c:v>
                </c:pt>
                <c:pt idx="2">
                  <c:v>2.3494999999999999</c:v>
                </c:pt>
                <c:pt idx="3">
                  <c:v>2.9119999999999999</c:v>
                </c:pt>
                <c:pt idx="4">
                  <c:v>2.7605</c:v>
                </c:pt>
                <c:pt idx="5">
                  <c:v>3.2810999999999999</c:v>
                </c:pt>
                <c:pt idx="6">
                  <c:v>2.9582999999999999</c:v>
                </c:pt>
                <c:pt idx="7">
                  <c:v>2.3877000000000002</c:v>
                </c:pt>
              </c:numCache>
            </c:numRef>
          </c:xVal>
          <c:yVal>
            <c:numRef>
              <c:f>Sheet1!$B$2:$B$9</c:f>
              <c:numCache>
                <c:formatCode>General</c:formatCode>
                <c:ptCount val="8"/>
                <c:pt idx="0">
                  <c:v>0.85599999999999998</c:v>
                </c:pt>
                <c:pt idx="1">
                  <c:v>0.79900000000000004</c:v>
                </c:pt>
                <c:pt idx="2">
                  <c:v>1.1379999999999999</c:v>
                </c:pt>
                <c:pt idx="3">
                  <c:v>1.0940000000000001</c:v>
                </c:pt>
                <c:pt idx="4">
                  <c:v>1.0580000000000001</c:v>
                </c:pt>
                <c:pt idx="5">
                  <c:v>0.91600000000000004</c:v>
                </c:pt>
                <c:pt idx="6">
                  <c:v>1.1299999999999999</c:v>
                </c:pt>
                <c:pt idx="7">
                  <c:v>1.371</c:v>
                </c:pt>
              </c:numCache>
            </c:numRef>
          </c:yVal>
          <c:bubbleSize>
            <c:numRef>
              <c:f>Sheet1!$C$2:$C$9</c:f>
              <c:numCache>
                <c:formatCode>General</c:formatCode>
                <c:ptCount val="8"/>
                <c:pt idx="0">
                  <c:v>519196378</c:v>
                </c:pt>
                <c:pt idx="1">
                  <c:v>58759599</c:v>
                </c:pt>
                <c:pt idx="2">
                  <c:v>58401688</c:v>
                </c:pt>
                <c:pt idx="3">
                  <c:v>51751764</c:v>
                </c:pt>
                <c:pt idx="4">
                  <c:v>48675142</c:v>
                </c:pt>
                <c:pt idx="5">
                  <c:v>35786138</c:v>
                </c:pt>
                <c:pt idx="6">
                  <c:v>29293535</c:v>
                </c:pt>
                <c:pt idx="7">
                  <c:v>2101629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551561-ED29-482B-AF34-1010E10926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82069F5-DB2D-4CBE-B92A-15DA520CF1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6964541-77FB-4EE7-803E-11577D4CAD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A8BBDD1-670D-431C-A045-F0658B35FA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DFC0DA1-18D1-485A-AAE7-5DFC87FAD9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0D0603B-A303-465E-8C30-C729E564E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5DD4B1A-EC17-495A-8CFD-BB5497B553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57F9C03-B83A-4980-945D-AC5F9851B0C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4110999999999998</c:v>
                </c:pt>
                <c:pt idx="2">
                  <c:v>3.0028999999999999</c:v>
                </c:pt>
                <c:pt idx="3">
                  <c:v>2.3096999999999999</c:v>
                </c:pt>
                <c:pt idx="4">
                  <c:v>2.8786</c:v>
                </c:pt>
                <c:pt idx="5">
                  <c:v>3.2258</c:v>
                </c:pt>
                <c:pt idx="6">
                  <c:v>2.9295</c:v>
                </c:pt>
                <c:pt idx="7">
                  <c:v>2.3601000000000001</c:v>
                </c:pt>
              </c:numCache>
            </c:numRef>
          </c:xVal>
          <c:yVal>
            <c:numRef>
              <c:f>Sheet1!$B$2:$B$9</c:f>
              <c:numCache>
                <c:formatCode>General</c:formatCode>
                <c:ptCount val="8"/>
                <c:pt idx="0">
                  <c:v>0.88300000000000001</c:v>
                </c:pt>
                <c:pt idx="1">
                  <c:v>0.76100000000000001</c:v>
                </c:pt>
                <c:pt idx="2">
                  <c:v>1.079</c:v>
                </c:pt>
                <c:pt idx="3">
                  <c:v>1.073</c:v>
                </c:pt>
                <c:pt idx="4">
                  <c:v>1.0229999999999999</c:v>
                </c:pt>
                <c:pt idx="5">
                  <c:v>0.82099999999999995</c:v>
                </c:pt>
                <c:pt idx="6">
                  <c:v>1.0029999999999999</c:v>
                </c:pt>
                <c:pt idx="7">
                  <c:v>1.3089999999999999</c:v>
                </c:pt>
              </c:numCache>
            </c:numRef>
          </c:yVal>
          <c:bubbleSize>
            <c:numRef>
              <c:f>Sheet1!$C$2:$C$9</c:f>
              <c:numCache>
                <c:formatCode>General</c:formatCode>
                <c:ptCount val="8"/>
                <c:pt idx="0">
                  <c:v>77897599</c:v>
                </c:pt>
                <c:pt idx="1">
                  <c:v>9302551</c:v>
                </c:pt>
                <c:pt idx="2">
                  <c:v>8811592</c:v>
                </c:pt>
                <c:pt idx="3">
                  <c:v>8667367</c:v>
                </c:pt>
                <c:pt idx="4">
                  <c:v>8594536</c:v>
                </c:pt>
                <c:pt idx="5">
                  <c:v>6741136</c:v>
                </c:pt>
                <c:pt idx="6">
                  <c:v>5831683</c:v>
                </c:pt>
                <c:pt idx="7">
                  <c:v>432524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C1038FC-1D68-4E2B-979B-618ED322D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8194BE-6A20-4802-BAB8-03B2338AC5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5EC9EFD-70A4-4B7C-864E-61B6FE5AE2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919F2C3-3790-4271-98EA-D9092D8530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27164E-53A4-4495-B98A-0223BF9A4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9BF43C-E71C-4601-8C54-3DDC02EB2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CEDEA4-75BC-4828-84A7-9429A2A0E0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D06E5370-053A-4450-B190-7EB1080982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31000000000001</c:v>
                </c:pt>
                <c:pt idx="1">
                  <c:v>2.4689000000000001</c:v>
                </c:pt>
                <c:pt idx="2">
                  <c:v>2.3700999999999999</c:v>
                </c:pt>
                <c:pt idx="3">
                  <c:v>2.9885999999999999</c:v>
                </c:pt>
                <c:pt idx="4">
                  <c:v>2.7917999999999998</c:v>
                </c:pt>
                <c:pt idx="5">
                  <c:v>3.4443000000000001</c:v>
                </c:pt>
                <c:pt idx="6">
                  <c:v>3.0390000000000001</c:v>
                </c:pt>
                <c:pt idx="7">
                  <c:v>2.5135000000000001</c:v>
                </c:pt>
              </c:numCache>
            </c:numRef>
          </c:xVal>
          <c:yVal>
            <c:numRef>
              <c:f>Sheet1!$B$2:$B$9</c:f>
              <c:numCache>
                <c:formatCode>General</c:formatCode>
                <c:ptCount val="8"/>
                <c:pt idx="0">
                  <c:v>0.84699999999999998</c:v>
                </c:pt>
                <c:pt idx="1">
                  <c:v>1.169</c:v>
                </c:pt>
                <c:pt idx="2">
                  <c:v>0.81699999999999995</c:v>
                </c:pt>
                <c:pt idx="3">
                  <c:v>1.0940000000000001</c:v>
                </c:pt>
                <c:pt idx="4">
                  <c:v>1.0469999999999999</c:v>
                </c:pt>
                <c:pt idx="5">
                  <c:v>0.97399999999999998</c:v>
                </c:pt>
                <c:pt idx="6">
                  <c:v>1.1499999999999999</c:v>
                </c:pt>
                <c:pt idx="7">
                  <c:v>1.401</c:v>
                </c:pt>
              </c:numCache>
            </c:numRef>
          </c:yVal>
          <c:bubbleSize>
            <c:numRef>
              <c:f>Sheet1!$C$2:$C$9</c:f>
              <c:numCache>
                <c:formatCode>General</c:formatCode>
                <c:ptCount val="8"/>
                <c:pt idx="0">
                  <c:v>58897416</c:v>
                </c:pt>
                <c:pt idx="1">
                  <c:v>11602323</c:v>
                </c:pt>
                <c:pt idx="2">
                  <c:v>9875140</c:v>
                </c:pt>
                <c:pt idx="3">
                  <c:v>8620814</c:v>
                </c:pt>
                <c:pt idx="4">
                  <c:v>8261704</c:v>
                </c:pt>
                <c:pt idx="5">
                  <c:v>5658598</c:v>
                </c:pt>
                <c:pt idx="6">
                  <c:v>4747021</c:v>
                </c:pt>
                <c:pt idx="7">
                  <c:v>424095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2F688B0-0BB8-4015-90DE-8F3FF7236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02D2917-FE4A-4195-AD29-214AFF8DA4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D53E4F-53A4-43E3-835E-AA459C8DB4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1ED868C-F31C-4227-87F1-77C48F309D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34AD7923-BB27-4E0D-841C-E5AA839966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46FC067-10A7-4E1C-A849-C8E52A347F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9D545C1-C16C-468E-B10C-0F0492AFA2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7D9103C-F1F9-49AC-8929-6AB635B9E0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F9F499C-0434-431C-9267-724838C0FA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21B0304-863F-4C34-9A9E-C3D932276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708E0F-1F0F-411A-8A62-E10A51C46B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51755DE-28A8-4314-A65F-F0766FF125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75EF8AF-1B5D-4F25-81A0-AF78D0DAAF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4DC7CC1-4178-4127-8276-B4C50C072C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33573CF-2E2F-4C03-8F93-86CFE60DBD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47E932B-C198-4AFB-A880-C97F107F76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195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1673DFB-243D-49F3-991D-F65D277C37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356F70A-3DD5-4213-A1F0-5F266C3BF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5BAC9C5-BA6C-46E5-8F12-658CA7B48A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933346-84D8-461F-8D6F-9C716C6195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DBD0CBC-9321-4267-8D77-D4D29CD6C0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0EE8DFE-98C2-4089-84B2-E1B7E5F309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DAE96F5-D297-4EA6-BEEB-F61B2BA349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B948873-BBDA-473D-87D3-E1020032FF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974FF74-4A22-42CC-950A-9E24E589B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A000E1-FD02-4EA1-A648-F369595336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214E2F25-481C-4E36-A0AB-86F3558AAB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01E57C-B966-432F-9FE5-CA4E213931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3E1088-30DB-45AA-B70D-584EEA6A01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2550F36-1ABF-4DBF-9732-57D143E3D2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28B853-4FD4-4DEA-BA2C-1D8D45C642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59A984-4FF6-4B4F-B064-9FD1BEEB34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5445000000000002</c:v>
                </c:pt>
                <c:pt idx="1">
                  <c:v>3.2810999999999999</c:v>
                </c:pt>
                <c:pt idx="2">
                  <c:v>2.9834999999999998</c:v>
                </c:pt>
                <c:pt idx="3">
                  <c:v>2.2189999999999999</c:v>
                </c:pt>
                <c:pt idx="4">
                  <c:v>2.7052999999999998</c:v>
                </c:pt>
                <c:pt idx="5">
                  <c:v>3.2698999999999998</c:v>
                </c:pt>
              </c:numCache>
            </c:numRef>
          </c:xVal>
          <c:yVal>
            <c:numRef>
              <c:f>Sheet1!$B$2:$B$7</c:f>
              <c:numCache>
                <c:formatCode>General</c:formatCode>
                <c:ptCount val="6"/>
                <c:pt idx="0">
                  <c:v>1.419</c:v>
                </c:pt>
                <c:pt idx="1">
                  <c:v>0.873</c:v>
                </c:pt>
                <c:pt idx="2">
                  <c:v>1.0669999999999999</c:v>
                </c:pt>
                <c:pt idx="3">
                  <c:v>0.624</c:v>
                </c:pt>
                <c:pt idx="4">
                  <c:v>1.8620000000000001</c:v>
                </c:pt>
                <c:pt idx="5">
                  <c:v>1.425</c:v>
                </c:pt>
              </c:numCache>
            </c:numRef>
          </c:yVal>
          <c:bubbleSize>
            <c:numRef>
              <c:f>Sheet1!$C$2:$C$7</c:f>
              <c:numCache>
                <c:formatCode>General</c:formatCode>
                <c:ptCount val="6"/>
                <c:pt idx="0">
                  <c:v>36162450</c:v>
                </c:pt>
                <c:pt idx="1">
                  <c:v>35786112</c:v>
                </c:pt>
                <c:pt idx="2">
                  <c:v>28035107</c:v>
                </c:pt>
                <c:pt idx="3">
                  <c:v>22083602</c:v>
                </c:pt>
                <c:pt idx="4">
                  <c:v>11823541</c:v>
                </c:pt>
                <c:pt idx="5">
                  <c:v>2634301</c:v>
                </c:pt>
              </c:numCache>
            </c:numRef>
          </c:bubbleSize>
          <c:bubble3D val="0"/>
          <c:extLst>
            <c:ext xmlns:c15="http://schemas.microsoft.com/office/drawing/2012/chart" uri="{02D57815-91ED-43cb-92C2-25804820EDAC}">
              <c15:datalabelsRange>
                <c15:f>Sheet1!$E$2:$E$10</c15:f>
                <c15:dlblRangeCache>
                  <c:ptCount val="9"/>
                  <c:pt idx="0">
                    <c:v>Mini Babybel</c:v>
                  </c:pt>
                  <c:pt idx="1">
                    <c:v>La Vache Qui Rit</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099C172-86CF-4A55-A35C-650E6FF5E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5E2F40E-F099-4EE4-AD64-266D5C0BC4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B33B187-F5CF-4E30-9996-D49AB27F7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1C86425-5D4E-49D1-8968-8EADA1537B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1895F88-06AC-42E4-8853-C82A0EC35B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D72D376-249C-42A7-BF8E-ED1BFD219B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38315C7-BF83-4A70-B197-3B46C0AD5F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119338E-BE7A-4D6E-8944-7E19DC486B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2258</c:v>
                </c:pt>
                <c:pt idx="1">
                  <c:v>3.7176999999999998</c:v>
                </c:pt>
                <c:pt idx="2">
                  <c:v>2.9481000000000002</c:v>
                </c:pt>
                <c:pt idx="3">
                  <c:v>2.2936000000000001</c:v>
                </c:pt>
                <c:pt idx="4">
                  <c:v>2.7347999999999999</c:v>
                </c:pt>
                <c:pt idx="5">
                  <c:v>3.0028000000000001</c:v>
                </c:pt>
              </c:numCache>
            </c:numRef>
          </c:xVal>
          <c:yVal>
            <c:numRef>
              <c:f>Sheet1!$B$2:$B$7</c:f>
              <c:numCache>
                <c:formatCode>General</c:formatCode>
                <c:ptCount val="6"/>
                <c:pt idx="0">
                  <c:v>0.81299999999999994</c:v>
                </c:pt>
                <c:pt idx="1">
                  <c:v>1.339</c:v>
                </c:pt>
                <c:pt idx="2">
                  <c:v>0.98</c:v>
                </c:pt>
                <c:pt idx="3">
                  <c:v>0.67</c:v>
                </c:pt>
                <c:pt idx="4">
                  <c:v>1.853</c:v>
                </c:pt>
                <c:pt idx="5">
                  <c:v>1.5209999999999999</c:v>
                </c:pt>
              </c:numCache>
            </c:numRef>
          </c:yVal>
          <c:bubbleSize>
            <c:numRef>
              <c:f>Sheet1!$C$2:$C$7</c:f>
              <c:numCache>
                <c:formatCode>General</c:formatCode>
                <c:ptCount val="6"/>
                <c:pt idx="0">
                  <c:v>6741110</c:v>
                </c:pt>
                <c:pt idx="1">
                  <c:v>6669457</c:v>
                </c:pt>
                <c:pt idx="2">
                  <c:v>5524817</c:v>
                </c:pt>
                <c:pt idx="3">
                  <c:v>2504979</c:v>
                </c:pt>
                <c:pt idx="4">
                  <c:v>2314948</c:v>
                </c:pt>
                <c:pt idx="5">
                  <c:v>426610</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681FF5-E309-427B-AD3E-9B09AFC42C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0DE6B7-70C4-4B33-B4FF-087C839D28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C1510CD-1A56-49E0-8AE0-B3D5A25001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AFF3F7F-97D4-4266-844E-CA87355664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91C1CF2-6B15-4E6F-9BA3-01949B11C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F032CCB-07EC-4037-9A01-6F45B8F506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A55F4DE-070D-4054-8380-30662B139D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5994B90-2C1F-4A89-9578-BE474F5E8A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86000000000002</c:v>
                </c:pt>
                <c:pt idx="1">
                  <c:v>2.4689000000000001</c:v>
                </c:pt>
                <c:pt idx="2">
                  <c:v>2.3700999999999999</c:v>
                </c:pt>
                <c:pt idx="3">
                  <c:v>2.9603000000000002</c:v>
                </c:pt>
                <c:pt idx="4">
                  <c:v>2.7917999999999998</c:v>
                </c:pt>
                <c:pt idx="5">
                  <c:v>3.4443000000000001</c:v>
                </c:pt>
                <c:pt idx="6">
                  <c:v>2.6848999999999998</c:v>
                </c:pt>
                <c:pt idx="7">
                  <c:v>3.0390000000000001</c:v>
                </c:pt>
              </c:numCache>
            </c:numRef>
          </c:xVal>
          <c:yVal>
            <c:numRef>
              <c:f>Sheet1!$B$2:$B$9</c:f>
              <c:numCache>
                <c:formatCode>General</c:formatCode>
                <c:ptCount val="8"/>
                <c:pt idx="0">
                  <c:v>0.83199999999999996</c:v>
                </c:pt>
                <c:pt idx="1">
                  <c:v>1.141</c:v>
                </c:pt>
                <c:pt idx="2">
                  <c:v>0.79800000000000004</c:v>
                </c:pt>
                <c:pt idx="3">
                  <c:v>1.119</c:v>
                </c:pt>
                <c:pt idx="4">
                  <c:v>1.022</c:v>
                </c:pt>
                <c:pt idx="5">
                  <c:v>0.95099999999999996</c:v>
                </c:pt>
                <c:pt idx="6">
                  <c:v>1.5509999999999999</c:v>
                </c:pt>
                <c:pt idx="7">
                  <c:v>1.123</c:v>
                </c:pt>
              </c:numCache>
            </c:numRef>
          </c:yVal>
          <c:bubbleSize>
            <c:numRef>
              <c:f>Sheet1!$C$2:$C$9</c:f>
              <c:numCache>
                <c:formatCode>General</c:formatCode>
                <c:ptCount val="8"/>
                <c:pt idx="0">
                  <c:v>59702866</c:v>
                </c:pt>
                <c:pt idx="1">
                  <c:v>11602323</c:v>
                </c:pt>
                <c:pt idx="2">
                  <c:v>9875140</c:v>
                </c:pt>
                <c:pt idx="3">
                  <c:v>9429711</c:v>
                </c:pt>
                <c:pt idx="4">
                  <c:v>8261704</c:v>
                </c:pt>
                <c:pt idx="5">
                  <c:v>5658598</c:v>
                </c:pt>
                <c:pt idx="6">
                  <c:v>5419020</c:v>
                </c:pt>
                <c:pt idx="7">
                  <c:v>4747021</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Boursin</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466C780-60EC-4567-B140-C233894DC6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B327F83-7957-4A15-8723-F5FDEBECA2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541FAE1-D3D7-4121-A36F-DBFF17DD2D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286CD7F-FF99-4885-A68A-80EEDE2985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C29E30B-547C-4B7A-92F5-2FB2F7D6C7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42807C6-08BD-4EFF-930C-BA43E21379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DADEA0A-9291-4969-B445-C3FC1924A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D26E583-4EB3-4564-B841-13107C3B979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3.4443000000000001</c:v>
                </c:pt>
                <c:pt idx="1">
                  <c:v>3.3622999999999998</c:v>
                </c:pt>
                <c:pt idx="2">
                  <c:v>3.0697000000000001</c:v>
                </c:pt>
                <c:pt idx="3">
                  <c:v>2.0539000000000001</c:v>
                </c:pt>
                <c:pt idx="4">
                  <c:v>2.6819999999999999</c:v>
                </c:pt>
                <c:pt idx="5">
                  <c:v>3.7010999999999998</c:v>
                </c:pt>
              </c:numCache>
            </c:numRef>
          </c:xVal>
          <c:yVal>
            <c:numRef>
              <c:f>Sheet1!$B$2:$B$7</c:f>
              <c:numCache>
                <c:formatCode>General</c:formatCode>
                <c:ptCount val="6"/>
                <c:pt idx="0">
                  <c:v>0.88</c:v>
                </c:pt>
                <c:pt idx="1">
                  <c:v>1.3660000000000001</c:v>
                </c:pt>
                <c:pt idx="2">
                  <c:v>1.0269999999999999</c:v>
                </c:pt>
                <c:pt idx="3">
                  <c:v>0.629</c:v>
                </c:pt>
                <c:pt idx="4">
                  <c:v>1.804</c:v>
                </c:pt>
                <c:pt idx="5">
                  <c:v>1.266</c:v>
                </c:pt>
              </c:numCache>
            </c:numRef>
          </c:yVal>
          <c:bubbleSize>
            <c:numRef>
              <c:f>Sheet1!$C$2:$C$7</c:f>
              <c:numCache>
                <c:formatCode>General</c:formatCode>
                <c:ptCount val="6"/>
                <c:pt idx="0">
                  <c:v>5658598</c:v>
                </c:pt>
                <c:pt idx="1">
                  <c:v>4713246</c:v>
                </c:pt>
                <c:pt idx="2">
                  <c:v>4572915</c:v>
                </c:pt>
                <c:pt idx="3">
                  <c:v>2456999</c:v>
                </c:pt>
                <c:pt idx="4">
                  <c:v>1686737</c:v>
                </c:pt>
                <c:pt idx="5">
                  <c:v>437701</c:v>
                </c:pt>
              </c:numCache>
            </c:numRef>
          </c:bubbleSize>
          <c:bubble3D val="0"/>
          <c:extLst>
            <c:ext xmlns:c15="http://schemas.microsoft.com/office/drawing/2012/chart" uri="{02D57815-91ED-43cb-92C2-25804820EDAC}">
              <c15:datalabelsRange>
                <c15:f>Sheet1!$E$2:$E$10</c15:f>
                <c15:dlblRangeCache>
                  <c:ptCount val="9"/>
                  <c:pt idx="0">
                    <c:v>La Vache Qui Rit</c:v>
                  </c:pt>
                  <c:pt idx="1">
                    <c:v>Mini Babybel</c:v>
                  </c:pt>
                  <c:pt idx="2">
                    <c:v>Kiri</c:v>
                  </c:pt>
                  <c:pt idx="3">
                    <c:v>Private Label</c:v>
                  </c:pt>
                  <c:pt idx="4">
                    <c:v>Ficello</c:v>
                  </c:pt>
                  <c:pt idx="5">
                    <c:v>P'Tit Lou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C2CF6F9-36CB-4728-A154-5D7D9C9CDA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8EA9B08-8098-42EE-98D0-9C90072A66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6A104F-A7DD-4E3E-B6AC-2EF3CF3696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7959A9F-2013-425E-ACE6-089E61732C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35C30BD-CE77-47E1-88B4-E09E5F0F6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AAC07AE-17FD-4F4B-A8CB-5C53D52FF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A096EBE-E809-494F-9B5D-A68FE5578B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99E4824-6715-4D38-814B-EF87B7FFB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119999999999999</c:v>
                </c:pt>
                <c:pt idx="1">
                  <c:v>1.4815</c:v>
                </c:pt>
                <c:pt idx="2">
                  <c:v>2.4422000000000001</c:v>
                </c:pt>
                <c:pt idx="3">
                  <c:v>2.2902</c:v>
                </c:pt>
                <c:pt idx="4">
                  <c:v>2.4300000000000002</c:v>
                </c:pt>
                <c:pt idx="5">
                  <c:v>2.4110999999999998</c:v>
                </c:pt>
                <c:pt idx="6">
                  <c:v>2.4899</c:v>
                </c:pt>
                <c:pt idx="7">
                  <c:v>13</c:v>
                </c:pt>
              </c:numCache>
            </c:numRef>
          </c:xVal>
          <c:yVal>
            <c:numRef>
              <c:f>Sheet1!$B$2:$B$9</c:f>
              <c:numCache>
                <c:formatCode>General</c:formatCode>
                <c:ptCount val="8"/>
                <c:pt idx="0">
                  <c:v>1.1379999999999999</c:v>
                </c:pt>
                <c:pt idx="1">
                  <c:v>0.68100000000000005</c:v>
                </c:pt>
                <c:pt idx="2">
                  <c:v>1.024</c:v>
                </c:pt>
                <c:pt idx="3">
                  <c:v>1.1160000000000001</c:v>
                </c:pt>
                <c:pt idx="4">
                  <c:v>1.3640000000000001</c:v>
                </c:pt>
                <c:pt idx="5">
                  <c:v>1.085</c:v>
                </c:pt>
                <c:pt idx="6">
                  <c:v>1.5089999999999999</c:v>
                </c:pt>
                <c:pt idx="7">
                  <c:v>1.17</c:v>
                </c:pt>
              </c:numCache>
            </c:numRef>
          </c:yVal>
          <c:bubbleSize>
            <c:numRef>
              <c:f>Sheet1!$C$2:$C$9</c:f>
              <c:numCache>
                <c:formatCode>General</c:formatCode>
                <c:ptCount val="8"/>
                <c:pt idx="0">
                  <c:v>51751764</c:v>
                </c:pt>
                <c:pt idx="1">
                  <c:v>33615603</c:v>
                </c:pt>
                <c:pt idx="2">
                  <c:v>26453904</c:v>
                </c:pt>
                <c:pt idx="3">
                  <c:v>18616048</c:v>
                </c:pt>
                <c:pt idx="4">
                  <c:v>16298170</c:v>
                </c:pt>
                <c:pt idx="5">
                  <c:v>11587098</c:v>
                </c:pt>
                <c:pt idx="6">
                  <c:v>1258428</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0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A2BE1DB-2585-43DC-AF61-410151794F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8EA9775-CA7A-4644-AF31-05773E4FCF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CACD897-CD76-4E4B-8C0A-34365DBA86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DDE309B-DAA7-4359-82D2-B47EA65979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D2045A-4DC7-4E94-9AF8-713ECC61A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0F91A40-F32D-4CBD-93A6-B5BF513560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2D2DCFF-88D8-4238-995D-9B0901EB6C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B714376B-9550-4F7D-8D0B-7E651318E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3.0028999999999999</c:v>
                </c:pt>
                <c:pt idx="1">
                  <c:v>2.4232</c:v>
                </c:pt>
                <c:pt idx="2">
                  <c:v>1.6344000000000001</c:v>
                </c:pt>
                <c:pt idx="3">
                  <c:v>2.3706</c:v>
                </c:pt>
                <c:pt idx="4">
                  <c:v>2.4558</c:v>
                </c:pt>
                <c:pt idx="5">
                  <c:v>2.4186999999999999</c:v>
                </c:pt>
                <c:pt idx="6">
                  <c:v>2.6312000000000002</c:v>
                </c:pt>
                <c:pt idx="7">
                  <c:v>13</c:v>
                </c:pt>
              </c:numCache>
            </c:numRef>
          </c:xVal>
          <c:yVal>
            <c:numRef>
              <c:f>Sheet1!$B$2:$B$9</c:f>
              <c:numCache>
                <c:formatCode>General</c:formatCode>
                <c:ptCount val="8"/>
                <c:pt idx="0">
                  <c:v>1.1180000000000001</c:v>
                </c:pt>
                <c:pt idx="1">
                  <c:v>0.95799999999999996</c:v>
                </c:pt>
                <c:pt idx="2">
                  <c:v>0.69299999999999995</c:v>
                </c:pt>
                <c:pt idx="3">
                  <c:v>1.0740000000000001</c:v>
                </c:pt>
                <c:pt idx="4">
                  <c:v>1.3029999999999999</c:v>
                </c:pt>
                <c:pt idx="5">
                  <c:v>1.006</c:v>
                </c:pt>
                <c:pt idx="6">
                  <c:v>1.4079999999999999</c:v>
                </c:pt>
                <c:pt idx="7">
                  <c:v>1.081</c:v>
                </c:pt>
              </c:numCache>
            </c:numRef>
          </c:yVal>
          <c:bubbleSize>
            <c:numRef>
              <c:f>Sheet1!$C$2:$C$9</c:f>
              <c:numCache>
                <c:formatCode>General</c:formatCode>
                <c:ptCount val="8"/>
                <c:pt idx="0">
                  <c:v>8811592</c:v>
                </c:pt>
                <c:pt idx="1">
                  <c:v>4758479</c:v>
                </c:pt>
                <c:pt idx="2">
                  <c:v>3845963</c:v>
                </c:pt>
                <c:pt idx="3">
                  <c:v>3148857</c:v>
                </c:pt>
                <c:pt idx="4">
                  <c:v>3035900</c:v>
                </c:pt>
                <c:pt idx="5">
                  <c:v>2202030</c:v>
                </c:pt>
                <c:pt idx="6">
                  <c:v>306866</c:v>
                </c:pt>
                <c:pt idx="7">
                  <c:v>26</c:v>
                </c:pt>
              </c:numCache>
            </c:numRef>
          </c:bubbleSize>
          <c:bubble3D val="0"/>
          <c:extLst>
            <c:ext xmlns:c15="http://schemas.microsoft.com/office/drawing/2012/chart" uri="{02D57815-91ED-43cb-92C2-25804820EDAC}">
              <c15:datalabelsRange>
                <c15:f>Sheet1!$E$2:$E$10</c15:f>
                <c15:dlblRangeCache>
                  <c:ptCount val="9"/>
                  <c:pt idx="0">
                    <c:v>St Moret</c:v>
                  </c:pt>
                  <c:pt idx="1">
                    <c:v>Paysan Breton</c:v>
                  </c:pt>
                  <c:pt idx="2">
                    <c:v>Private Label</c:v>
                  </c:pt>
                  <c:pt idx="3">
                    <c:v>Tartare</c:v>
                  </c:pt>
                  <c:pt idx="4">
                    <c:v>Boursin</c:v>
                  </c:pt>
                  <c:pt idx="5">
                    <c:v>Carre Frais</c:v>
                  </c:pt>
                  <c:pt idx="6">
                    <c:v>Kiri</c:v>
                  </c:pt>
                  <c:pt idx="7">
                    <c:v>La Vache Qui Rit</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6"/>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0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2797AAD-9EAD-46DE-BACE-A3F78EE2CB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07DEA0A-3B44-4976-87B5-F6D7984D66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C46F104-2097-4433-A5E3-53858D1992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FD36D7-3E5A-45F4-AF4A-F4099AE9E5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8AE62C1-E15F-49CC-9E56-A3F17B02E5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32F572F4-C3FC-43D9-B332-594DEF7AD2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9B0C9F-794E-43B9-B336-222209F0B9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5997AD-3860-4715-A7A9-9D12C3D2ED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9885999999999999</c:v>
                </c:pt>
                <c:pt idx="1">
                  <c:v>1.3731</c:v>
                </c:pt>
                <c:pt idx="2">
                  <c:v>2.4413999999999998</c:v>
                </c:pt>
                <c:pt idx="3">
                  <c:v>2.536</c:v>
                </c:pt>
                <c:pt idx="4">
                  <c:v>2.3258999999999999</c:v>
                </c:pt>
                <c:pt idx="5">
                  <c:v>2.4405000000000001</c:v>
                </c:pt>
                <c:pt idx="6">
                  <c:v>2.4830000000000001</c:v>
                </c:pt>
                <c:pt idx="7">
                  <c:v>2.4062000000000001</c:v>
                </c:pt>
              </c:numCache>
            </c:numRef>
          </c:xVal>
          <c:yVal>
            <c:numRef>
              <c:f>Sheet1!$B$2:$B$9</c:f>
              <c:numCache>
                <c:formatCode>General</c:formatCode>
                <c:ptCount val="8"/>
                <c:pt idx="0">
                  <c:v>1.0760000000000001</c:v>
                </c:pt>
                <c:pt idx="1">
                  <c:v>0.67600000000000005</c:v>
                </c:pt>
                <c:pt idx="2">
                  <c:v>0.96299999999999997</c:v>
                </c:pt>
                <c:pt idx="3">
                  <c:v>1.319</c:v>
                </c:pt>
                <c:pt idx="4">
                  <c:v>1.081</c:v>
                </c:pt>
                <c:pt idx="5">
                  <c:v>1.038</c:v>
                </c:pt>
                <c:pt idx="6">
                  <c:v>0.98599999999999999</c:v>
                </c:pt>
                <c:pt idx="7">
                  <c:v>1.6379999999999999</c:v>
                </c:pt>
              </c:numCache>
            </c:numRef>
          </c:yVal>
          <c:bubbleSize>
            <c:numRef>
              <c:f>Sheet1!$C$2:$C$9</c:f>
              <c:numCache>
                <c:formatCode>General</c:formatCode>
                <c:ptCount val="8"/>
                <c:pt idx="0">
                  <c:v>8620814</c:v>
                </c:pt>
                <c:pt idx="1">
                  <c:v>3677885</c:v>
                </c:pt>
                <c:pt idx="2">
                  <c:v>3671057</c:v>
                </c:pt>
                <c:pt idx="3">
                  <c:v>3468819</c:v>
                </c:pt>
                <c:pt idx="4">
                  <c:v>2960143</c:v>
                </c:pt>
                <c:pt idx="5">
                  <c:v>1853432</c:v>
                </c:pt>
                <c:pt idx="6">
                  <c:v>911380</c:v>
                </c:pt>
                <c:pt idx="7">
                  <c:v>174106</c:v>
                </c:pt>
              </c:numCache>
            </c:numRef>
          </c:bubbleSize>
          <c:bubble3D val="0"/>
          <c:extLst>
            <c:ext xmlns:c15="http://schemas.microsoft.com/office/drawing/2012/chart" uri="{02D57815-91ED-43cb-92C2-25804820EDAC}">
              <c15:datalabelsRange>
                <c15:f>Sheet1!$E$2:$E$10</c15:f>
                <c15:dlblRangeCache>
                  <c:ptCount val="9"/>
                  <c:pt idx="0">
                    <c:v>St Moret</c:v>
                  </c:pt>
                  <c:pt idx="1">
                    <c:v>Private Label</c:v>
                  </c:pt>
                  <c:pt idx="2">
                    <c:v>Paysan Breton</c:v>
                  </c:pt>
                  <c:pt idx="3">
                    <c:v>Boursin</c:v>
                  </c:pt>
                  <c:pt idx="4">
                    <c:v>Tartare</c:v>
                  </c:pt>
                  <c:pt idx="5">
                    <c:v>Carre Frais</c:v>
                  </c:pt>
                  <c:pt idx="6">
                    <c:v>Philadelphia</c:v>
                  </c:pt>
                  <c:pt idx="7">
                    <c:v>Kiri</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37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FC2379-9369-4099-9403-ED7B49EEB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9DB41C-6B5A-46AF-B57C-1EA627F7E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D0AE9B1-4537-4F88-88CF-60C0645DAF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A4E3221-4E00-40D8-9DA3-C430D52F0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11F26F-CDF4-40B5-9B40-93D4CF1CCB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0ED0574-C07D-4C2B-8638-12A50FD64C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32CFCF65-CEAE-45EA-AAFF-3836928B7D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59F4FEA-5BB5-45BC-A983-060B46D93B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581999999999999</c:v>
                </c:pt>
                <c:pt idx="1">
                  <c:v>2.3494999999999999</c:v>
                </c:pt>
                <c:pt idx="2">
                  <c:v>2.4449999999999998</c:v>
                </c:pt>
                <c:pt idx="3">
                  <c:v>2.9683000000000002</c:v>
                </c:pt>
                <c:pt idx="4">
                  <c:v>2.7303999999999999</c:v>
                </c:pt>
                <c:pt idx="5">
                  <c:v>2.2523</c:v>
                </c:pt>
              </c:numCache>
            </c:numRef>
          </c:xVal>
          <c:yVal>
            <c:numRef>
              <c:f>Sheet1!$B$2:$B$7</c:f>
              <c:numCache>
                <c:formatCode>General</c:formatCode>
                <c:ptCount val="6"/>
                <c:pt idx="0">
                  <c:v>0.89300000000000002</c:v>
                </c:pt>
                <c:pt idx="1">
                  <c:v>1.0309999999999999</c:v>
                </c:pt>
                <c:pt idx="2">
                  <c:v>1.1739999999999999</c:v>
                </c:pt>
                <c:pt idx="3">
                  <c:v>1.04</c:v>
                </c:pt>
                <c:pt idx="4">
                  <c:v>1.427</c:v>
                </c:pt>
                <c:pt idx="5">
                  <c:v>1.472</c:v>
                </c:pt>
              </c:numCache>
            </c:numRef>
          </c:yVal>
          <c:bubbleSize>
            <c:numRef>
              <c:f>Sheet1!$C$2:$C$7</c:f>
              <c:numCache>
                <c:formatCode>General</c:formatCode>
                <c:ptCount val="6"/>
                <c:pt idx="0">
                  <c:v>254514232</c:v>
                </c:pt>
                <c:pt idx="1">
                  <c:v>58401643</c:v>
                </c:pt>
                <c:pt idx="2">
                  <c:v>40044170</c:v>
                </c:pt>
                <c:pt idx="3">
                  <c:v>31611113</c:v>
                </c:pt>
                <c:pt idx="4">
                  <c:v>9755821</c:v>
                </c:pt>
                <c:pt idx="5">
                  <c:v>471812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238BE6B-3190-473F-91C1-F237C96F1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961E5AF-61EA-4BE4-9FAD-60B27F0C6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51E3171-5FD9-4AB7-978B-9E00F4B26D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C9BF3E6-65F0-4660-B37F-99384C2D3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5DDD023B-B8F5-4766-B555-6048D0874C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669F9D4-9458-4207-8763-70EAECEED4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DF2D7D7-1AF1-4217-B7EB-6E6CCB3F14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C4E6AC9-7EE6-4356-B53E-AF2EBEA532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1492</c:v>
                </c:pt>
                <c:pt idx="1">
                  <c:v>2.3096999999999999</c:v>
                </c:pt>
                <c:pt idx="2">
                  <c:v>2.6053999999999999</c:v>
                </c:pt>
                <c:pt idx="3">
                  <c:v>3.0032999999999999</c:v>
                </c:pt>
                <c:pt idx="4">
                  <c:v>2.6737000000000002</c:v>
                </c:pt>
                <c:pt idx="5">
                  <c:v>2.1617000000000002</c:v>
                </c:pt>
              </c:numCache>
            </c:numRef>
          </c:xVal>
          <c:yVal>
            <c:numRef>
              <c:f>Sheet1!$B$2:$B$7</c:f>
              <c:numCache>
                <c:formatCode>General</c:formatCode>
                <c:ptCount val="6"/>
                <c:pt idx="0">
                  <c:v>0.89800000000000002</c:v>
                </c:pt>
                <c:pt idx="1">
                  <c:v>0.96599999999999997</c:v>
                </c:pt>
                <c:pt idx="2">
                  <c:v>1.1839999999999999</c:v>
                </c:pt>
                <c:pt idx="3">
                  <c:v>0.96899999999999997</c:v>
                </c:pt>
                <c:pt idx="4">
                  <c:v>1.29</c:v>
                </c:pt>
                <c:pt idx="5">
                  <c:v>1.304</c:v>
                </c:pt>
              </c:numCache>
            </c:numRef>
          </c:yVal>
          <c:bubbleSize>
            <c:numRef>
              <c:f>Sheet1!$C$2:$C$7</c:f>
              <c:numCache>
                <c:formatCode>General</c:formatCode>
                <c:ptCount val="6"/>
                <c:pt idx="0">
                  <c:v>41826347</c:v>
                </c:pt>
                <c:pt idx="1">
                  <c:v>8667322</c:v>
                </c:pt>
                <c:pt idx="2">
                  <c:v>7504143</c:v>
                </c:pt>
                <c:pt idx="3">
                  <c:v>5982438</c:v>
                </c:pt>
                <c:pt idx="4">
                  <c:v>1935509</c:v>
                </c:pt>
                <c:pt idx="5">
                  <c:v>1289340</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Casa Azzurra</c:v>
                  </c:pt>
                  <c:pt idx="3">
                    <c:v>Salakis</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166CD24-3A72-43E6-A5EA-2199DB17B8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6978006-6B69-464A-AA9E-47A25B15C4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DA1F20D-28A6-44EC-861F-8AB4C45AD4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0C7FAED-3431-4D2A-A6C8-28AB97B458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B772257-0914-4450-826A-F9262187F6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203F9B4-130F-4227-A103-5D9AE952D5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54A9F45-0206-40ED-8ADC-D69537E4CA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F2FACB8-C5E7-4479-8D46-A19437EAE4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9205000000000001</c:v>
                </c:pt>
                <c:pt idx="1">
                  <c:v>2.4689000000000001</c:v>
                </c:pt>
                <c:pt idx="2">
                  <c:v>2.9990000000000001</c:v>
                </c:pt>
                <c:pt idx="3">
                  <c:v>2.4729000000000001</c:v>
                </c:pt>
                <c:pt idx="4">
                  <c:v>2.9125000000000001</c:v>
                </c:pt>
                <c:pt idx="5">
                  <c:v>2.4173</c:v>
                </c:pt>
              </c:numCache>
            </c:numRef>
          </c:xVal>
          <c:yVal>
            <c:numRef>
              <c:f>Sheet1!$B$2:$B$7</c:f>
              <c:numCache>
                <c:formatCode>General</c:formatCode>
                <c:ptCount val="6"/>
                <c:pt idx="0">
                  <c:v>0.86799999999999999</c:v>
                </c:pt>
                <c:pt idx="1">
                  <c:v>1.0820000000000001</c:v>
                </c:pt>
                <c:pt idx="2">
                  <c:v>1.048</c:v>
                </c:pt>
                <c:pt idx="3">
                  <c:v>1.2310000000000001</c:v>
                </c:pt>
                <c:pt idx="4">
                  <c:v>1.5529999999999999</c:v>
                </c:pt>
                <c:pt idx="5">
                  <c:v>1.615</c:v>
                </c:pt>
              </c:numCache>
            </c:numRef>
          </c:yVal>
          <c:bubbleSize>
            <c:numRef>
              <c:f>Sheet1!$C$2:$C$7</c:f>
              <c:numCache>
                <c:formatCode>General</c:formatCode>
                <c:ptCount val="6"/>
                <c:pt idx="0">
                  <c:v>28870053</c:v>
                </c:pt>
                <c:pt idx="1">
                  <c:v>11602323</c:v>
                </c:pt>
                <c:pt idx="2">
                  <c:v>5268160</c:v>
                </c:pt>
                <c:pt idx="3">
                  <c:v>3859441</c:v>
                </c:pt>
                <c:pt idx="4">
                  <c:v>1520505</c:v>
                </c:pt>
                <c:pt idx="5">
                  <c:v>772136</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Salakis</c:v>
                  </c:pt>
                  <c:pt idx="3">
                    <c:v>Casa Azzurra</c:v>
                  </c:pt>
                  <c:pt idx="4">
                    <c:v>Islos</c:v>
                  </c:pt>
                  <c:pt idx="5">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EE687C1-D668-453B-965C-DC224A9504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1A9F1CF-83F3-4953-90A3-33FC560FC6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50682BA-2E70-4911-AA5A-2B46AC7D86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9F7631D9-0DAD-4C79-B275-F2F004C5BE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8B6BAED-4C65-4167-A23A-8D162CB8F79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974EB74-C428-4379-8F78-DAEAAC2C28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67A0395-C5D9-4B8C-BA26-65B5B68729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18A382-2031-4025-BBB3-2F6E44521C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67999999999999</c:v>
                </c:pt>
                <c:pt idx="1">
                  <c:v>2.7383999999999999</c:v>
                </c:pt>
                <c:pt idx="2">
                  <c:v>2.5478999999999998</c:v>
                </c:pt>
                <c:pt idx="3">
                  <c:v>3.1917</c:v>
                </c:pt>
                <c:pt idx="4">
                  <c:v>2.7921999999999998</c:v>
                </c:pt>
                <c:pt idx="5">
                  <c:v>2.4697</c:v>
                </c:pt>
                <c:pt idx="6">
                  <c:v>2.4439000000000002</c:v>
                </c:pt>
              </c:numCache>
            </c:numRef>
          </c:xVal>
          <c:yVal>
            <c:numRef>
              <c:f>Sheet1!$B$2:$B$8</c:f>
              <c:numCache>
                <c:formatCode>General</c:formatCode>
                <c:ptCount val="7"/>
                <c:pt idx="0">
                  <c:v>0.84499999999999997</c:v>
                </c:pt>
                <c:pt idx="1">
                  <c:v>1.0329999999999999</c:v>
                </c:pt>
                <c:pt idx="2">
                  <c:v>1.0209999999999999</c:v>
                </c:pt>
                <c:pt idx="3">
                  <c:v>1.226</c:v>
                </c:pt>
                <c:pt idx="4">
                  <c:v>1.0509999999999999</c:v>
                </c:pt>
                <c:pt idx="5">
                  <c:v>1.276</c:v>
                </c:pt>
                <c:pt idx="6">
                  <c:v>0.96299999999999997</c:v>
                </c:pt>
              </c:numCache>
            </c:numRef>
          </c:yVal>
          <c:bubbleSize>
            <c:numRef>
              <c:f>Sheet1!$C$2:$C$8</c:f>
              <c:numCache>
                <c:formatCode>General</c:formatCode>
                <c:ptCount val="7"/>
                <c:pt idx="0">
                  <c:v>523033042</c:v>
                </c:pt>
                <c:pt idx="1">
                  <c:v>220388831</c:v>
                </c:pt>
                <c:pt idx="2">
                  <c:v>184792544</c:v>
                </c:pt>
                <c:pt idx="3">
                  <c:v>160060443</c:v>
                </c:pt>
                <c:pt idx="4">
                  <c:v>51934569</c:v>
                </c:pt>
                <c:pt idx="5">
                  <c:v>41232866</c:v>
                </c:pt>
                <c:pt idx="6">
                  <c:v>2718258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76"/>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3F4D975-82B1-4042-A5B6-1AB3D42F9D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9405D4-843D-4689-BCFD-42984F5E7D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D5B7DD6-52BE-4D09-BBAD-594D35275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1092A4A-D26F-4EC1-807C-98404A0537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DB47576-BAC8-4376-8F84-B997A4BDF7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8288BB74-E34B-4C93-BC78-702D4A9A86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B02C0E24-2FFE-4157-B35A-7AD64B57BF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54DD49A-095D-4AB0-985C-3AEBF498D4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996000000000002</c:v>
                </c:pt>
                <c:pt idx="1">
                  <c:v>2.7795999999999998</c:v>
                </c:pt>
                <c:pt idx="2">
                  <c:v>3.1964999999999999</c:v>
                </c:pt>
                <c:pt idx="3">
                  <c:v>2.6046999999999998</c:v>
                </c:pt>
                <c:pt idx="4">
                  <c:v>2.8915000000000002</c:v>
                </c:pt>
                <c:pt idx="5">
                  <c:v>2.6497000000000002</c:v>
                </c:pt>
                <c:pt idx="6">
                  <c:v>2.4577</c:v>
                </c:pt>
              </c:numCache>
            </c:numRef>
          </c:xVal>
          <c:yVal>
            <c:numRef>
              <c:f>Sheet1!$B$2:$B$8</c:f>
              <c:numCache>
                <c:formatCode>General</c:formatCode>
                <c:ptCount val="7"/>
                <c:pt idx="0">
                  <c:v>0.86899999999999999</c:v>
                </c:pt>
                <c:pt idx="1">
                  <c:v>0.99</c:v>
                </c:pt>
                <c:pt idx="2">
                  <c:v>1.1259999999999999</c:v>
                </c:pt>
                <c:pt idx="3">
                  <c:v>0.96599999999999997</c:v>
                </c:pt>
                <c:pt idx="4">
                  <c:v>1.0169999999999999</c:v>
                </c:pt>
                <c:pt idx="5">
                  <c:v>1.29</c:v>
                </c:pt>
                <c:pt idx="6">
                  <c:v>0.89200000000000002</c:v>
                </c:pt>
              </c:numCache>
            </c:numRef>
          </c:yVal>
          <c:bubbleSize>
            <c:numRef>
              <c:f>Sheet1!$C$2:$C$8</c:f>
              <c:numCache>
                <c:formatCode>General</c:formatCode>
                <c:ptCount val="7"/>
                <c:pt idx="0">
                  <c:v>78402914</c:v>
                </c:pt>
                <c:pt idx="1">
                  <c:v>39941311</c:v>
                </c:pt>
                <c:pt idx="2">
                  <c:v>30956795</c:v>
                </c:pt>
                <c:pt idx="3">
                  <c:v>30134139</c:v>
                </c:pt>
                <c:pt idx="4">
                  <c:v>8949359</c:v>
                </c:pt>
                <c:pt idx="5">
                  <c:v>7961029</c:v>
                </c:pt>
                <c:pt idx="6">
                  <c:v>4989207</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Bel</c:v>
                  </c:pt>
                  <c:pt idx="3">
                    <c:v>Lactalis</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234BD4A-717F-4B12-9779-53217CFA86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87B10F5-C727-4EA8-9E4E-378693E110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0189D1C7-176F-4ACF-B458-A4B63EC343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64637FB-20F6-4CFC-B79E-B0E6884F44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6A3D1C3-0DE4-49C5-9650-1607360DF4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5C8B26B-11AE-4522-8FD3-32E52463A8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46355EA-E060-46EC-8A3D-905E0D957F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4A76B45-595B-49F6-9BD2-8B583D8F72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186000000000002</c:v>
                </c:pt>
                <c:pt idx="1">
                  <c:v>2.8006000000000002</c:v>
                </c:pt>
                <c:pt idx="2">
                  <c:v>2.6168</c:v>
                </c:pt>
                <c:pt idx="3">
                  <c:v>3.2494000000000001</c:v>
                </c:pt>
                <c:pt idx="4">
                  <c:v>2.7930999999999999</c:v>
                </c:pt>
                <c:pt idx="5">
                  <c:v>2.4775999999999998</c:v>
                </c:pt>
                <c:pt idx="6">
                  <c:v>2.4403999999999999</c:v>
                </c:pt>
              </c:numCache>
            </c:numRef>
          </c:xVal>
          <c:yVal>
            <c:numRef>
              <c:f>Sheet1!$B$2:$B$8</c:f>
              <c:numCache>
                <c:formatCode>General</c:formatCode>
                <c:ptCount val="7"/>
                <c:pt idx="0">
                  <c:v>0.83199999999999996</c:v>
                </c:pt>
                <c:pt idx="1">
                  <c:v>1.0449999999999999</c:v>
                </c:pt>
                <c:pt idx="2">
                  <c:v>1.0209999999999999</c:v>
                </c:pt>
                <c:pt idx="3">
                  <c:v>1.272</c:v>
                </c:pt>
                <c:pt idx="4">
                  <c:v>1.032</c:v>
                </c:pt>
                <c:pt idx="5">
                  <c:v>1.298</c:v>
                </c:pt>
                <c:pt idx="6">
                  <c:v>0.95399999999999996</c:v>
                </c:pt>
              </c:numCache>
            </c:numRef>
          </c:yVal>
          <c:bubbleSize>
            <c:numRef>
              <c:f>Sheet1!$C$2:$C$8</c:f>
              <c:numCache>
                <c:formatCode>General</c:formatCode>
                <c:ptCount val="7"/>
                <c:pt idx="0">
                  <c:v>59702866</c:v>
                </c:pt>
                <c:pt idx="1">
                  <c:v>36044986</c:v>
                </c:pt>
                <c:pt idx="2">
                  <c:v>31069086</c:v>
                </c:pt>
                <c:pt idx="3">
                  <c:v>26434171</c:v>
                </c:pt>
                <c:pt idx="4">
                  <c:v>8454992</c:v>
                </c:pt>
                <c:pt idx="5">
                  <c:v>3881891</c:v>
                </c:pt>
                <c:pt idx="6">
                  <c:v>3726300</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D0DFD44-C5F8-4DE7-9742-0EAC3E4A01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B6F7784-A773-4992-8ECB-E02011BD53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468B25E-89A0-4247-8FC2-67C5FC97D0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B023B44-F84D-4F0E-AA7D-562436B775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6428544-1C6F-4378-92F7-9BC5AA5D13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C61CC95-2467-4E9D-B290-5CD558E045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CADCFC6-F03C-4E20-A57E-1BF7E64CCD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B49D1D3-4958-494D-8AC0-E4E96B4640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327000000000002</c:v>
                </c:pt>
                <c:pt idx="1">
                  <c:v>2.2883</c:v>
                </c:pt>
                <c:pt idx="2">
                  <c:v>2.3494999999999999</c:v>
                </c:pt>
                <c:pt idx="3">
                  <c:v>2.9119999999999999</c:v>
                </c:pt>
                <c:pt idx="4">
                  <c:v>2.7605</c:v>
                </c:pt>
                <c:pt idx="5">
                  <c:v>3.2810999999999999</c:v>
                </c:pt>
                <c:pt idx="6">
                  <c:v>2.9582999999999999</c:v>
                </c:pt>
                <c:pt idx="7">
                  <c:v>2.3877000000000002</c:v>
                </c:pt>
              </c:numCache>
            </c:numRef>
          </c:xVal>
          <c:yVal>
            <c:numRef>
              <c:f>Sheet1!$B$2:$B$9</c:f>
              <c:numCache>
                <c:formatCode>General</c:formatCode>
                <c:ptCount val="8"/>
                <c:pt idx="0">
                  <c:v>0.85599999999999998</c:v>
                </c:pt>
                <c:pt idx="1">
                  <c:v>0.79900000000000004</c:v>
                </c:pt>
                <c:pt idx="2">
                  <c:v>1.1379999999999999</c:v>
                </c:pt>
                <c:pt idx="3">
                  <c:v>1.0940000000000001</c:v>
                </c:pt>
                <c:pt idx="4">
                  <c:v>1.0580000000000001</c:v>
                </c:pt>
                <c:pt idx="5">
                  <c:v>0.91600000000000004</c:v>
                </c:pt>
                <c:pt idx="6">
                  <c:v>1.1299999999999999</c:v>
                </c:pt>
                <c:pt idx="7">
                  <c:v>1.371</c:v>
                </c:pt>
              </c:numCache>
            </c:numRef>
          </c:yVal>
          <c:bubbleSize>
            <c:numRef>
              <c:f>Sheet1!$C$2:$C$9</c:f>
              <c:numCache>
                <c:formatCode>General</c:formatCode>
                <c:ptCount val="8"/>
                <c:pt idx="0">
                  <c:v>519196378</c:v>
                </c:pt>
                <c:pt idx="1">
                  <c:v>58759599</c:v>
                </c:pt>
                <c:pt idx="2">
                  <c:v>58401688</c:v>
                </c:pt>
                <c:pt idx="3">
                  <c:v>51751764</c:v>
                </c:pt>
                <c:pt idx="4">
                  <c:v>48675142</c:v>
                </c:pt>
                <c:pt idx="5">
                  <c:v>35786138</c:v>
                </c:pt>
                <c:pt idx="6">
                  <c:v>29293535</c:v>
                </c:pt>
                <c:pt idx="7">
                  <c:v>21016295</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Galbani</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9D89588-86DC-4E6C-A243-3C1902FB9F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E5573E3-6EA5-4286-A3A8-B87CCFEA781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6BE78E7-339C-4F2D-9E42-DAE2974478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B435E80-CE43-4AF5-94C7-6BB398EBBA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29E09C1-3339-4258-B877-D5AD7A37FA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7ADC378-DD64-4B30-B6D5-109055775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BB5A0B5-9F88-4593-88CD-F962E32869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CF638C35-6079-4839-9832-A5893310FC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327000000000002</c:v>
                </c:pt>
                <c:pt idx="1">
                  <c:v>2.7843</c:v>
                </c:pt>
                <c:pt idx="2">
                  <c:v>2.5455999999999999</c:v>
                </c:pt>
                <c:pt idx="3">
                  <c:v>3.0708000000000002</c:v>
                </c:pt>
                <c:pt idx="4">
                  <c:v>2.7917999999999998</c:v>
                </c:pt>
                <c:pt idx="5">
                  <c:v>2.4697</c:v>
                </c:pt>
                <c:pt idx="6">
                  <c:v>2.4439000000000002</c:v>
                </c:pt>
              </c:numCache>
            </c:numRef>
          </c:xVal>
          <c:yVal>
            <c:numRef>
              <c:f>Sheet1!$B$2:$B$8</c:f>
              <c:numCache>
                <c:formatCode>General</c:formatCode>
                <c:ptCount val="7"/>
                <c:pt idx="0">
                  <c:v>0.85599999999999998</c:v>
                </c:pt>
                <c:pt idx="1">
                  <c:v>1.0249999999999999</c:v>
                </c:pt>
                <c:pt idx="2">
                  <c:v>1.0369999999999999</c:v>
                </c:pt>
                <c:pt idx="3">
                  <c:v>1.1679999999999999</c:v>
                </c:pt>
                <c:pt idx="4">
                  <c:v>1.069</c:v>
                </c:pt>
                <c:pt idx="5">
                  <c:v>1.2989999999999999</c:v>
                </c:pt>
                <c:pt idx="6">
                  <c:v>0.98</c:v>
                </c:pt>
              </c:numCache>
            </c:numRef>
          </c:yVal>
          <c:bubbleSize>
            <c:numRef>
              <c:f>Sheet1!$C$2:$C$8</c:f>
              <c:numCache>
                <c:formatCode>General</c:formatCode>
                <c:ptCount val="7"/>
                <c:pt idx="0">
                  <c:v>519196378</c:v>
                </c:pt>
                <c:pt idx="1">
                  <c:v>207969796</c:v>
                </c:pt>
                <c:pt idx="2">
                  <c:v>184128031</c:v>
                </c:pt>
                <c:pt idx="3">
                  <c:v>122270486</c:v>
                </c:pt>
                <c:pt idx="4">
                  <c:v>51892782</c:v>
                </c:pt>
                <c:pt idx="5">
                  <c:v>41232866</c:v>
                </c:pt>
                <c:pt idx="6">
                  <c:v>27182585</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9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672E7AB-3EB7-483C-8F0F-4812CE973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F21C316-4988-4F65-89E5-AC832446A2F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E0351FE-509B-49A1-9242-8577603928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1C8B09-1726-42FB-9434-2300BF9595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E8FFD91-36DF-4563-9854-AD26E62C93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824D371-9D61-44E5-9593-C7525E1801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3E9E84A8-A649-45E4-BBFB-85B13FAC55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55DBBA6C-3102-4AFD-8F12-8D2FF2A2F1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82</c:v>
                </c:pt>
                <c:pt idx="2">
                  <c:v>2.6032000000000002</c:v>
                </c:pt>
                <c:pt idx="3">
                  <c:v>3.0579000000000001</c:v>
                </c:pt>
                <c:pt idx="4">
                  <c:v>2.8915000000000002</c:v>
                </c:pt>
                <c:pt idx="5">
                  <c:v>2.6497000000000002</c:v>
                </c:pt>
                <c:pt idx="6">
                  <c:v>2.4577</c:v>
                </c:pt>
                <c:pt idx="7">
                  <c:v>2.7347999999999999</c:v>
                </c:pt>
              </c:numCache>
            </c:numRef>
          </c:xVal>
          <c:yVal>
            <c:numRef>
              <c:f>Sheet1!$B$2:$B$9</c:f>
              <c:numCache>
                <c:formatCode>General</c:formatCode>
                <c:ptCount val="8"/>
                <c:pt idx="0">
                  <c:v>0.88300000000000001</c:v>
                </c:pt>
                <c:pt idx="1">
                  <c:v>0.98599999999999999</c:v>
                </c:pt>
                <c:pt idx="2">
                  <c:v>0.97899999999999998</c:v>
                </c:pt>
                <c:pt idx="3">
                  <c:v>1.0580000000000001</c:v>
                </c:pt>
                <c:pt idx="4">
                  <c:v>1.0369999999999999</c:v>
                </c:pt>
                <c:pt idx="5">
                  <c:v>1.3160000000000001</c:v>
                </c:pt>
                <c:pt idx="6">
                  <c:v>0.90900000000000003</c:v>
                </c:pt>
                <c:pt idx="7">
                  <c:v>1.871</c:v>
                </c:pt>
              </c:numCache>
            </c:numRef>
          </c:yVal>
          <c:bubbleSize>
            <c:numRef>
              <c:f>Sheet1!$C$2:$C$9</c:f>
              <c:numCache>
                <c:formatCode>General</c:formatCode>
                <c:ptCount val="8"/>
                <c:pt idx="0">
                  <c:v>77897599</c:v>
                </c:pt>
                <c:pt idx="1">
                  <c:v>37828387</c:v>
                </c:pt>
                <c:pt idx="2">
                  <c:v>29884062</c:v>
                </c:pt>
                <c:pt idx="3">
                  <c:v>23567757</c:v>
                </c:pt>
                <c:pt idx="4">
                  <c:v>8949359</c:v>
                </c:pt>
                <c:pt idx="5">
                  <c:v>7961029</c:v>
                </c:pt>
                <c:pt idx="6">
                  <c:v>4989207</c:v>
                </c:pt>
                <c:pt idx="7">
                  <c:v>2314948</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pt idx="7">
                    <c:v>Kerry</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1000000000000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757F3B1-E18B-4439-ACC9-F69F494803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1BDD431-80A8-464C-8587-70CC96C132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0D2C017-8785-4496-8D91-A1F12FBFC2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CEC3982-C67D-46A7-8717-0ACC2505B1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B52002F-E6BF-4A3D-83D4-C58778545A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6D89885-B0F2-4972-AFB0-FE128D14A7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F2F18CC6-9CBD-4343-A417-2A893835C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C39573-9BDF-41C4-9539-A23DA14C95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131000000000001</c:v>
                </c:pt>
                <c:pt idx="1">
                  <c:v>2.8401999999999998</c:v>
                </c:pt>
                <c:pt idx="2">
                  <c:v>2.6168</c:v>
                </c:pt>
                <c:pt idx="3">
                  <c:v>3.0758999999999999</c:v>
                </c:pt>
                <c:pt idx="4">
                  <c:v>2.7930999999999999</c:v>
                </c:pt>
                <c:pt idx="5">
                  <c:v>2.4775999999999998</c:v>
                </c:pt>
                <c:pt idx="6">
                  <c:v>2.4403999999999999</c:v>
                </c:pt>
              </c:numCache>
            </c:numRef>
          </c:xVal>
          <c:yVal>
            <c:numRef>
              <c:f>Sheet1!$B$2:$B$8</c:f>
              <c:numCache>
                <c:formatCode>General</c:formatCode>
                <c:ptCount val="7"/>
                <c:pt idx="0">
                  <c:v>0.84699999999999998</c:v>
                </c:pt>
                <c:pt idx="1">
                  <c:v>1.038</c:v>
                </c:pt>
                <c:pt idx="2">
                  <c:v>1.0469999999999999</c:v>
                </c:pt>
                <c:pt idx="3">
                  <c:v>1.204</c:v>
                </c:pt>
                <c:pt idx="4">
                  <c:v>1.0580000000000001</c:v>
                </c:pt>
                <c:pt idx="5">
                  <c:v>1.33</c:v>
                </c:pt>
                <c:pt idx="6">
                  <c:v>0.97699999999999998</c:v>
                </c:pt>
              </c:numCache>
            </c:numRef>
          </c:yVal>
          <c:bubbleSize>
            <c:numRef>
              <c:f>Sheet1!$C$2:$C$8</c:f>
              <c:numCache>
                <c:formatCode>General</c:formatCode>
                <c:ptCount val="7"/>
                <c:pt idx="0">
                  <c:v>58897416</c:v>
                </c:pt>
                <c:pt idx="1">
                  <c:v>33665330</c:v>
                </c:pt>
                <c:pt idx="2">
                  <c:v>31068808</c:v>
                </c:pt>
                <c:pt idx="3">
                  <c:v>19359820</c:v>
                </c:pt>
                <c:pt idx="4">
                  <c:v>8454992</c:v>
                </c:pt>
                <c:pt idx="5">
                  <c:v>3881891</c:v>
                </c:pt>
                <c:pt idx="6">
                  <c:v>3726300</c:v>
                </c:pt>
              </c:numCache>
            </c:numRef>
          </c:bubbleSize>
          <c:bubble3D val="0"/>
          <c:extLst>
            <c:ext xmlns:c15="http://schemas.microsoft.com/office/drawing/2012/chart" uri="{02D57815-91ED-43cb-92C2-25804820EDAC}">
              <c15:datalabelsRange>
                <c15:f>Sheet1!$E$2:$E$10</c15:f>
                <c15:dlblRangeCache>
                  <c:ptCount val="9"/>
                  <c:pt idx="0">
                    <c:v>Mdd</c:v>
                  </c:pt>
                  <c:pt idx="1">
                    <c:v>Savencia</c:v>
                  </c:pt>
                  <c:pt idx="2">
                    <c:v>Lactalis</c:v>
                  </c:pt>
                  <c:pt idx="3">
                    <c:v>Bel</c:v>
                  </c:pt>
                  <c:pt idx="4">
                    <c:v>Eurial</c:v>
                  </c:pt>
                  <c:pt idx="5">
                    <c:v>Casa Azzurra</c:v>
                  </c:pt>
                  <c:pt idx="6">
                    <c:v>Lait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0B445BE-F98D-4640-BCC4-6258E759D8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0555B1F-AFAD-433F-9998-768D177AD3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6CE4B07-AEB0-4481-B78A-6084B2666B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CD0A608-0C63-40B0-AEDC-78DA32F690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9CA57F02-6502-4F3B-A5FB-2D51A1B5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64988DF-CCE2-4677-9970-45BFB8A01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EA609DA-2D5A-4119-94BC-C93CFC1827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CA41ECA-61FB-43BA-A79A-F6A0DBA5F9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892</c:v>
                </c:pt>
                <c:pt idx="1">
                  <c:v>2.1379000000000001</c:v>
                </c:pt>
                <c:pt idx="2">
                  <c:v>2.8439999999999999</c:v>
                </c:pt>
                <c:pt idx="3">
                  <c:v>3.3717999999999999</c:v>
                </c:pt>
              </c:numCache>
            </c:numRef>
          </c:xVal>
          <c:yVal>
            <c:numRef>
              <c:f>Sheet1!$B$2:$B$5</c:f>
              <c:numCache>
                <c:formatCode>General</c:formatCode>
                <c:ptCount val="4"/>
                <c:pt idx="0">
                  <c:v>0.93400000000000005</c:v>
                </c:pt>
                <c:pt idx="1">
                  <c:v>1.075</c:v>
                </c:pt>
                <c:pt idx="2">
                  <c:v>1.306</c:v>
                </c:pt>
                <c:pt idx="3">
                  <c:v>1.6950000000000001</c:v>
                </c:pt>
              </c:numCache>
            </c:numRef>
          </c:yVal>
          <c:bubbleSize>
            <c:numRef>
              <c:f>Sheet1!$C$2:$C$5</c:f>
              <c:numCache>
                <c:formatCode>General</c:formatCode>
                <c:ptCount val="4"/>
                <c:pt idx="0">
                  <c:v>36938121</c:v>
                </c:pt>
                <c:pt idx="1">
                  <c:v>11829385</c:v>
                </c:pt>
                <c:pt idx="2">
                  <c:v>3695927</c:v>
                </c:pt>
                <c:pt idx="3">
                  <c:v>664513</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95"/>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7023EEE-C776-46DD-AA28-7F3AA419B7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075499-DC3F-4B38-A414-AE6093FB3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D662FB-F9A3-45B8-83DE-710E58F73B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D64514C-073F-47F6-A81E-658CED9F26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17ACD206-6501-4E5A-8150-6755C5CE6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4E5E984-C613-4DDE-A5BB-293900DCEA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938F212-6AD3-487E-8B38-5FB42BDD95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C03F198-D905-4872-9C63-A5C0044A6E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7938000000000001</c:v>
                </c:pt>
                <c:pt idx="1">
                  <c:v>2.2122000000000002</c:v>
                </c:pt>
                <c:pt idx="2">
                  <c:v>3.1278999999999999</c:v>
                </c:pt>
                <c:pt idx="3">
                  <c:v>2.7902</c:v>
                </c:pt>
              </c:numCache>
            </c:numRef>
          </c:xVal>
          <c:yVal>
            <c:numRef>
              <c:f>Sheet1!$B$2:$B$5</c:f>
              <c:numCache>
                <c:formatCode>General</c:formatCode>
                <c:ptCount val="4"/>
                <c:pt idx="0">
                  <c:v>0.93400000000000005</c:v>
                </c:pt>
                <c:pt idx="1">
                  <c:v>1.048</c:v>
                </c:pt>
                <c:pt idx="2">
                  <c:v>1.492</c:v>
                </c:pt>
                <c:pt idx="3">
                  <c:v>1.762</c:v>
                </c:pt>
              </c:numCache>
            </c:numRef>
          </c:yVal>
          <c:bubbleSize>
            <c:numRef>
              <c:f>Sheet1!$C$2:$C$5</c:f>
              <c:numCache>
                <c:formatCode>General</c:formatCode>
                <c:ptCount val="4"/>
                <c:pt idx="0">
                  <c:v>7143856</c:v>
                </c:pt>
                <c:pt idx="1">
                  <c:v>2085021</c:v>
                </c:pt>
                <c:pt idx="2">
                  <c:v>505315</c:v>
                </c:pt>
                <c:pt idx="3">
                  <c:v>250077</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pt idx="3">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9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EF88CD3-CAC1-4DDA-BAC6-6100CDE01B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4A14912-3300-4042-A976-F4551B364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33F00BB-2CF8-44CE-BE73-1583BA6663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C7C0F2E-BA5F-4883-A544-33F209A048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B2B4C5E-C844-4701-87E5-BDDB1F7071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5F7618BC-980D-42BC-90F7-0FD9EDED33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62B03F6-CB89-4E61-8772-393D603819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BDCBC32-A5FD-4C44-AAB4-A1CA390528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656000000000001</c:v>
                </c:pt>
                <c:pt idx="1">
                  <c:v>2.3357999999999999</c:v>
                </c:pt>
                <c:pt idx="2">
                  <c:v>2.6114000000000002</c:v>
                </c:pt>
              </c:numCache>
            </c:numRef>
          </c:xVal>
          <c:yVal>
            <c:numRef>
              <c:f>Sheet1!$B$2:$B$4</c:f>
              <c:numCache>
                <c:formatCode>General</c:formatCode>
                <c:ptCount val="3"/>
                <c:pt idx="0">
                  <c:v>0.96099999999999997</c:v>
                </c:pt>
                <c:pt idx="1">
                  <c:v>1.1559999999999999</c:v>
                </c:pt>
                <c:pt idx="2">
                  <c:v>0.97599999999999998</c:v>
                </c:pt>
              </c:numCache>
            </c:numRef>
          </c:yVal>
          <c:bubbleSize>
            <c:numRef>
              <c:f>Sheet1!$C$2:$C$4</c:f>
              <c:numCache>
                <c:formatCode>General</c:formatCode>
                <c:ptCount val="3"/>
                <c:pt idx="0">
                  <c:v>6950194</c:v>
                </c:pt>
                <c:pt idx="1">
                  <c:v>2248742</c:v>
                </c:pt>
                <c:pt idx="2">
                  <c:v>736159</c:v>
                </c:pt>
              </c:numCache>
            </c:numRef>
          </c:bubbleSize>
          <c:bubble3D val="0"/>
          <c:extLst>
            <c:ext xmlns:c15="http://schemas.microsoft.com/office/drawing/2012/chart" uri="{02D57815-91ED-43cb-92C2-25804820EDAC}">
              <c15:datalabelsRange>
                <c15:f>Sheet1!$E$2:$E$10</c15:f>
                <c15:dlblRangeCache>
                  <c:ptCount val="9"/>
                  <c:pt idx="0">
                    <c:v>Bel</c:v>
                  </c:pt>
                  <c:pt idx="1">
                    <c:v>Savencia</c:v>
                  </c:pt>
                  <c:pt idx="2">
                    <c:v>Mdd</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D2B5FC5-AD7F-4DB3-9219-F35F4A931D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F8833E7-BEC2-4DA1-B6FC-B5737286FB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E6D3097-A32D-4542-8C15-2D7A7B4F6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3C0DF52-5D03-42A2-A29C-F1415C3C53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B7CFD7D-CEB1-4622-918B-97D836CEF2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6270320-A972-4AE0-B8E5-C1B4C64284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1903A6B2-D813-4FEB-B9C3-26CFC29F8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53A21CD-55B3-4D77-8E97-BE683C6D14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774000000000001</c:v>
                </c:pt>
                <c:pt idx="1">
                  <c:v>2.2189999999999999</c:v>
                </c:pt>
                <c:pt idx="2">
                  <c:v>2.7052999999999998</c:v>
                </c:pt>
                <c:pt idx="3">
                  <c:v>3.2702</c:v>
                </c:pt>
              </c:numCache>
            </c:numRef>
          </c:xVal>
          <c:yVal>
            <c:numRef>
              <c:f>Sheet1!$B$2:$B$5</c:f>
              <c:numCache>
                <c:formatCode>General</c:formatCode>
                <c:ptCount val="4"/>
                <c:pt idx="0">
                  <c:v>1.0780000000000001</c:v>
                </c:pt>
                <c:pt idx="1">
                  <c:v>0.624</c:v>
                </c:pt>
                <c:pt idx="2">
                  <c:v>1.8620000000000001</c:v>
                </c:pt>
                <c:pt idx="3">
                  <c:v>1.425</c:v>
                </c:pt>
              </c:numCache>
            </c:numRef>
          </c:yVal>
          <c:bubbleSize>
            <c:numRef>
              <c:f>Sheet1!$C$2:$C$5</c:f>
              <c:numCache>
                <c:formatCode>General</c:formatCode>
                <c:ptCount val="4"/>
                <c:pt idx="0">
                  <c:v>99993318</c:v>
                </c:pt>
                <c:pt idx="1">
                  <c:v>22083602</c:v>
                </c:pt>
                <c:pt idx="2">
                  <c:v>11823541</c:v>
                </c:pt>
                <c:pt idx="3">
                  <c:v>2636149</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62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F5831C0-48B7-4292-BA56-FB4DA6BD65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8146217-5980-44EB-AF76-D50E822D40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6DB350D-CC42-4FDE-9ABE-EC1A92E5C8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99E53BF-4C8D-456C-BC24-3AB4E0551D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1C14FC7-97FE-430E-A15D-2B16949BF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3ACB5B4-A515-451B-8EB3-FC7859236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D1F80BC-DC32-4D71-BD8F-FED7EA7B6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CAFA11-DC8B-4787-ACCD-DC868D2114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887</c:v>
                </c:pt>
                <c:pt idx="1">
                  <c:v>2.2936000000000001</c:v>
                </c:pt>
                <c:pt idx="2">
                  <c:v>2.7347999999999999</c:v>
                </c:pt>
                <c:pt idx="3">
                  <c:v>3.0028000000000001</c:v>
                </c:pt>
              </c:numCache>
            </c:numRef>
          </c:xVal>
          <c:yVal>
            <c:numRef>
              <c:f>Sheet1!$B$2:$B$5</c:f>
              <c:numCache>
                <c:formatCode>General</c:formatCode>
                <c:ptCount val="4"/>
                <c:pt idx="0">
                  <c:v>1.0009999999999999</c:v>
                </c:pt>
                <c:pt idx="1">
                  <c:v>0.67</c:v>
                </c:pt>
                <c:pt idx="2">
                  <c:v>1.853</c:v>
                </c:pt>
                <c:pt idx="3">
                  <c:v>1.5209999999999999</c:v>
                </c:pt>
              </c:numCache>
            </c:numRef>
          </c:yVal>
          <c:bubbleSize>
            <c:numRef>
              <c:f>Sheet1!$C$2:$C$5</c:f>
              <c:numCache>
                <c:formatCode>General</c:formatCode>
                <c:ptCount val="4"/>
                <c:pt idx="0">
                  <c:v>18935384</c:v>
                </c:pt>
                <c:pt idx="1">
                  <c:v>2504979</c:v>
                </c:pt>
                <c:pt idx="2">
                  <c:v>2314948</c:v>
                </c:pt>
                <c:pt idx="3">
                  <c:v>426610</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52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D70D079-13EB-4814-B335-CEC136B9E4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BB9DD1D-2431-45AA-8D70-E8132786AB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29513A0-8959-4886-BB12-E7C6A9D43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AA603700-BF9F-4EEE-9C2A-8DF367E286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3C297D4-5DDF-4244-8668-9255ECE6B1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1E78298-D152-46E5-AD2F-83C960009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EFF7360B-703D-4D9D-A309-B9FEF311639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530D774-998C-4D7D-90C9-07A382432E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2959000000000001</c:v>
                </c:pt>
                <c:pt idx="1">
                  <c:v>2.0539000000000001</c:v>
                </c:pt>
                <c:pt idx="2">
                  <c:v>2.6819999999999999</c:v>
                </c:pt>
                <c:pt idx="3">
                  <c:v>3.7010999999999998</c:v>
                </c:pt>
              </c:numCache>
            </c:numRef>
          </c:xVal>
          <c:yVal>
            <c:numRef>
              <c:f>Sheet1!$B$2:$B$5</c:f>
              <c:numCache>
                <c:formatCode>General</c:formatCode>
                <c:ptCount val="4"/>
                <c:pt idx="0">
                  <c:v>1.042</c:v>
                </c:pt>
                <c:pt idx="1">
                  <c:v>0.629</c:v>
                </c:pt>
                <c:pt idx="2">
                  <c:v>1.804</c:v>
                </c:pt>
                <c:pt idx="3">
                  <c:v>1.266</c:v>
                </c:pt>
              </c:numCache>
            </c:numRef>
          </c:yVal>
          <c:bubbleSize>
            <c:numRef>
              <c:f>Sheet1!$C$2:$C$5</c:f>
              <c:numCache>
                <c:formatCode>General</c:formatCode>
                <c:ptCount val="4"/>
                <c:pt idx="0">
                  <c:v>14944759</c:v>
                </c:pt>
                <c:pt idx="1">
                  <c:v>2456999</c:v>
                </c:pt>
                <c:pt idx="2">
                  <c:v>1686737</c:v>
                </c:pt>
                <c:pt idx="3">
                  <c:v>437701</c:v>
                </c:pt>
              </c:numCache>
            </c:numRef>
          </c:bubbleSize>
          <c:bubble3D val="0"/>
          <c:extLst>
            <c:ext xmlns:c15="http://schemas.microsoft.com/office/drawing/2012/chart" uri="{02D57815-91ED-43cb-92C2-25804820EDAC}">
              <c15:datalabelsRange>
                <c15:f>Sheet1!$E$2:$E$10</c15:f>
                <c15:dlblRangeCache>
                  <c:ptCount val="9"/>
                  <c:pt idx="0">
                    <c:v>Bel</c:v>
                  </c:pt>
                  <c:pt idx="1">
                    <c:v>Mdd</c:v>
                  </c:pt>
                  <c:pt idx="2">
                    <c:v>Kerry</c:v>
                  </c:pt>
                  <c:pt idx="3">
                    <c:v>Savencia</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23B4B77-8C37-4296-AED1-E5DF7622BA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AD658AB-AAC7-41EC-A9BB-847944C266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5863C90-F13D-4FDF-B002-61F69D1E98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8F058E1-E362-4160-8402-9C9E6D8D4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0CF43AB5-5EC7-433C-A68E-6F32A1D931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9F3BA19-8B09-4DF8-8D16-516CB2926B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43FD3CFE-572E-4702-B692-296DE4734E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CDC0E35-EDD6-4ED3-B5D6-6E3DA655E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6738</c:v>
                </c:pt>
                <c:pt idx="1">
                  <c:v>1.4815</c:v>
                </c:pt>
                <c:pt idx="2">
                  <c:v>2.4367999999999999</c:v>
                </c:pt>
                <c:pt idx="3">
                  <c:v>2.4342000000000001</c:v>
                </c:pt>
                <c:pt idx="4">
                  <c:v>2.6006</c:v>
                </c:pt>
                <c:pt idx="5">
                  <c:v>1.7744</c:v>
                </c:pt>
              </c:numCache>
            </c:numRef>
          </c:xVal>
          <c:yVal>
            <c:numRef>
              <c:f>Sheet1!$B$2:$B$7</c:f>
              <c:numCache>
                <c:formatCode>General</c:formatCode>
                <c:ptCount val="6"/>
                <c:pt idx="0">
                  <c:v>1.1299999999999999</c:v>
                </c:pt>
                <c:pt idx="1">
                  <c:v>0.68100000000000005</c:v>
                </c:pt>
                <c:pt idx="2">
                  <c:v>1.0249999999999999</c:v>
                </c:pt>
                <c:pt idx="3">
                  <c:v>1.3740000000000001</c:v>
                </c:pt>
                <c:pt idx="4">
                  <c:v>1.0740000000000001</c:v>
                </c:pt>
                <c:pt idx="5">
                  <c:v>1.155</c:v>
                </c:pt>
              </c:numCache>
            </c:numRef>
          </c:yVal>
          <c:bubbleSize>
            <c:numRef>
              <c:f>Sheet1!$C$2:$C$7</c:f>
              <c:numCache>
                <c:formatCode>General</c:formatCode>
                <c:ptCount val="6"/>
                <c:pt idx="0">
                  <c:v>83559931</c:v>
                </c:pt>
                <c:pt idx="1">
                  <c:v>33615603</c:v>
                </c:pt>
                <c:pt idx="2">
                  <c:v>26692802</c:v>
                </c:pt>
                <c:pt idx="3">
                  <c:v>17556624</c:v>
                </c:pt>
                <c:pt idx="4">
                  <c:v>7736534</c:v>
                </c:pt>
                <c:pt idx="5">
                  <c:v>3496877</c:v>
                </c:pt>
              </c:numCache>
            </c:numRef>
          </c:bubbleSize>
          <c:bubble3D val="0"/>
          <c:extLst>
            <c:ext xmlns:c15="http://schemas.microsoft.com/office/drawing/2012/chart" uri="{02D57815-91ED-43cb-92C2-25804820EDAC}">
              <c15:datalabelsRange>
                <c15:f>Sheet1!$E$2:$E$10</c15:f>
                <c15:dlblRangeCache>
                  <c:ptCount val="9"/>
                  <c:pt idx="0">
                    <c:v>Savencia</c:v>
                  </c:pt>
                  <c:pt idx="1">
                    <c:v>Mdd</c:v>
                  </c:pt>
                  <c:pt idx="2">
                    <c:v>Laita</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4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69477B2C-19FD-4EF0-942B-F03519BAF4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B75B270-70D1-448C-9AFA-0CC0E79405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2865EAF-65DF-4A92-8573-7A7A57464E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68234D48-2DCA-496C-A588-59AABCC5C7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FB4D2861-1221-4337-8D28-4BDCB5720C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E7B85704-2615-46D8-865B-CD4126A1CA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594DCF3-6DAB-4B44-BDB4-5D267A8856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ABC822CA-89F2-490F-95B4-60B1F27EE3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7187000000000001</c:v>
                </c:pt>
                <c:pt idx="1">
                  <c:v>2.0144000000000002</c:v>
                </c:pt>
                <c:pt idx="2">
                  <c:v>3.5047999999999999</c:v>
                </c:pt>
                <c:pt idx="3">
                  <c:v>2.8439999999999999</c:v>
                </c:pt>
                <c:pt idx="4">
                  <c:v>2.6423000000000001</c:v>
                </c:pt>
              </c:numCache>
            </c:numRef>
          </c:xVal>
          <c:yVal>
            <c:numRef>
              <c:f>Sheet1!$B$2:$B$6</c:f>
              <c:numCache>
                <c:formatCode>General</c:formatCode>
                <c:ptCount val="5"/>
                <c:pt idx="0">
                  <c:v>0.872</c:v>
                </c:pt>
                <c:pt idx="1">
                  <c:v>1.014</c:v>
                </c:pt>
                <c:pt idx="2">
                  <c:v>1.7649999999999999</c:v>
                </c:pt>
                <c:pt idx="3">
                  <c:v>1.306</c:v>
                </c:pt>
                <c:pt idx="4">
                  <c:v>1.331</c:v>
                </c:pt>
              </c:numCache>
            </c:numRef>
          </c:yVal>
          <c:bubbleSize>
            <c:numRef>
              <c:f>Sheet1!$C$2:$C$6</c:f>
              <c:numCache>
                <c:formatCode>General</c:formatCode>
                <c:ptCount val="5"/>
                <c:pt idx="0">
                  <c:v>32111482</c:v>
                </c:pt>
                <c:pt idx="1">
                  <c:v>8926552</c:v>
                </c:pt>
                <c:pt idx="2">
                  <c:v>4826639</c:v>
                </c:pt>
                <c:pt idx="3">
                  <c:v>3695927</c:v>
                </c:pt>
                <c:pt idx="4">
                  <c:v>2844424</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953BF8-EF93-4D7B-8306-819625A113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6B2663E-173A-4E38-BF9C-EF8A070BFB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84A86B9-70CA-48B5-B73F-D526CD14F7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17FB669-A986-465C-8B9C-BE426F4B98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39814C3-26CD-4446-92FE-CF424F850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E53FB1DB-A3B5-4065-A13F-72E42CD6FC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3223E94-9FCC-4F61-96F8-B90639A357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7CD7E75-5A5B-439E-8FD4-C89E431DD7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7431000000000001</c:v>
                </c:pt>
                <c:pt idx="1">
                  <c:v>2.4175</c:v>
                </c:pt>
                <c:pt idx="2">
                  <c:v>1.6344000000000001</c:v>
                </c:pt>
                <c:pt idx="3">
                  <c:v>2.4710000000000001</c:v>
                </c:pt>
                <c:pt idx="4">
                  <c:v>2.6836000000000002</c:v>
                </c:pt>
                <c:pt idx="5">
                  <c:v>1.8423</c:v>
                </c:pt>
              </c:numCache>
            </c:numRef>
          </c:xVal>
          <c:yVal>
            <c:numRef>
              <c:f>Sheet1!$B$2:$B$7</c:f>
              <c:numCache>
                <c:formatCode>General</c:formatCode>
                <c:ptCount val="6"/>
                <c:pt idx="0">
                  <c:v>1.0940000000000001</c:v>
                </c:pt>
                <c:pt idx="1">
                  <c:v>0.96</c:v>
                </c:pt>
                <c:pt idx="2">
                  <c:v>0.69299999999999995</c:v>
                </c:pt>
                <c:pt idx="3">
                  <c:v>1.3120000000000001</c:v>
                </c:pt>
                <c:pt idx="4">
                  <c:v>1.0009999999999999</c:v>
                </c:pt>
                <c:pt idx="5">
                  <c:v>1.105</c:v>
                </c:pt>
              </c:numCache>
            </c:numRef>
          </c:yVal>
          <c:bubbleSize>
            <c:numRef>
              <c:f>Sheet1!$C$2:$C$7</c:f>
              <c:numCache>
                <c:formatCode>General</c:formatCode>
                <c:ptCount val="6"/>
                <c:pt idx="0">
                  <c:v>14488211</c:v>
                </c:pt>
                <c:pt idx="1">
                  <c:v>4809021</c:v>
                </c:pt>
                <c:pt idx="2">
                  <c:v>3845963</c:v>
                </c:pt>
                <c:pt idx="3">
                  <c:v>3342792</c:v>
                </c:pt>
                <c:pt idx="4">
                  <c:v>2100704</c:v>
                </c:pt>
                <c:pt idx="5">
                  <c:v>606630</c:v>
                </c:pt>
              </c:numCache>
            </c:numRef>
          </c:bubbleSize>
          <c:bubble3D val="0"/>
          <c:extLst>
            <c:ext xmlns:c15="http://schemas.microsoft.com/office/drawing/2012/chart" uri="{02D57815-91ED-43cb-92C2-25804820EDAC}">
              <c15:datalabelsRange>
                <c15:f>Sheet1!$E$2:$E$10</c15:f>
                <c15:dlblRangeCache>
                  <c:ptCount val="9"/>
                  <c:pt idx="0">
                    <c:v>Savencia</c:v>
                  </c:pt>
                  <c:pt idx="1">
                    <c:v>Laita</c:v>
                  </c:pt>
                  <c:pt idx="2">
                    <c:v>Mdd</c:v>
                  </c:pt>
                  <c:pt idx="3">
                    <c:v>Bel</c:v>
                  </c:pt>
                  <c:pt idx="4">
                    <c:v>Mondelez</c:v>
                  </c:pt>
                  <c:pt idx="5">
                    <c:v>Lactali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D4887D-978D-46CF-AD15-CCFFA79D2F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896BD8-6851-4592-8194-B429DA34B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D811FC9-833C-47B8-9F20-9EEFF37597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F0390A9-18CC-45AB-B7C9-34DB32FB0B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65F0756-EDA3-4A76-92C4-A720547B01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6024553-CF2C-4851-8621-5494486C65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C039452-C16F-4A40-B5C8-D8AF10AF97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D12C6D0-C4AD-4501-B369-E1D31EC58D3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7397999999999998</c:v>
                </c:pt>
                <c:pt idx="1">
                  <c:v>2.4401999999999999</c:v>
                </c:pt>
                <c:pt idx="2">
                  <c:v>1.3731</c:v>
                </c:pt>
                <c:pt idx="3">
                  <c:v>2.5295000000000001</c:v>
                </c:pt>
                <c:pt idx="4">
                  <c:v>2.4830000000000001</c:v>
                </c:pt>
              </c:numCache>
            </c:numRef>
          </c:xVal>
          <c:yVal>
            <c:numRef>
              <c:f>Sheet1!$B$2:$B$6</c:f>
              <c:numCache>
                <c:formatCode>General</c:formatCode>
                <c:ptCount val="5"/>
                <c:pt idx="0">
                  <c:v>1.079</c:v>
                </c:pt>
                <c:pt idx="1">
                  <c:v>0.96299999999999997</c:v>
                </c:pt>
                <c:pt idx="2">
                  <c:v>0.67600000000000005</c:v>
                </c:pt>
                <c:pt idx="3">
                  <c:v>1.3320000000000001</c:v>
                </c:pt>
                <c:pt idx="4">
                  <c:v>0.98599999999999999</c:v>
                </c:pt>
              </c:numCache>
            </c:numRef>
          </c:yVal>
          <c:bubbleSize>
            <c:numRef>
              <c:f>Sheet1!$C$2:$C$6</c:f>
              <c:numCache>
                <c:formatCode>General</c:formatCode>
                <c:ptCount val="5"/>
                <c:pt idx="0">
                  <c:v>13711807</c:v>
                </c:pt>
                <c:pt idx="1">
                  <c:v>3679488</c:v>
                </c:pt>
                <c:pt idx="2">
                  <c:v>3677885</c:v>
                </c:pt>
                <c:pt idx="3">
                  <c:v>3642925</c:v>
                </c:pt>
                <c:pt idx="4">
                  <c:v>911380</c:v>
                </c:pt>
              </c:numCache>
            </c:numRef>
          </c:bubbleSize>
          <c:bubble3D val="0"/>
          <c:extLst>
            <c:ext xmlns:c15="http://schemas.microsoft.com/office/drawing/2012/chart" uri="{02D57815-91ED-43cb-92C2-25804820EDAC}">
              <c15:datalabelsRange>
                <c15:f>Sheet1!$E$2:$E$10</c15:f>
                <c15:dlblRangeCache>
                  <c:ptCount val="9"/>
                  <c:pt idx="0">
                    <c:v>Savencia</c:v>
                  </c:pt>
                  <c:pt idx="1">
                    <c:v>Laita</c:v>
                  </c:pt>
                  <c:pt idx="2">
                    <c:v>Mdd</c:v>
                  </c:pt>
                  <c:pt idx="3">
                    <c:v>Bel</c:v>
                  </c:pt>
                  <c:pt idx="4">
                    <c:v>Mondelez</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C757966-FDCA-4E51-A28B-823F7262D8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AAC3863-448A-40B7-A712-4DE5E330C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183A6EC-745B-472D-8C23-497F211FC3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D1336E96-4ABA-4E00-8C0C-BCB28A99E9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29EDEC0-649E-482D-973E-9ED2AD5EDE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1881AC6-9DB2-4647-A662-F01A646A12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A9F43B7-287A-434C-85E2-984E804EBC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BC8EB12-027B-4507-A8B6-5CBECC95EC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581999999999999</c:v>
                </c:pt>
                <c:pt idx="1">
                  <c:v>2.5396999999999998</c:v>
                </c:pt>
                <c:pt idx="2">
                  <c:v>2.4697</c:v>
                </c:pt>
                <c:pt idx="3">
                  <c:v>2.7305000000000001</c:v>
                </c:pt>
                <c:pt idx="4">
                  <c:v>2.2523</c:v>
                </c:pt>
              </c:numCache>
            </c:numRef>
          </c:xVal>
          <c:yVal>
            <c:numRef>
              <c:f>Sheet1!$B$2:$B$6</c:f>
              <c:numCache>
                <c:formatCode>General</c:formatCode>
                <c:ptCount val="5"/>
                <c:pt idx="0">
                  <c:v>0.89300000000000002</c:v>
                </c:pt>
                <c:pt idx="1">
                  <c:v>1.038</c:v>
                </c:pt>
                <c:pt idx="2">
                  <c:v>1.177</c:v>
                </c:pt>
                <c:pt idx="3">
                  <c:v>1.427</c:v>
                </c:pt>
                <c:pt idx="4">
                  <c:v>1.472</c:v>
                </c:pt>
              </c:numCache>
            </c:numRef>
          </c:yVal>
          <c:bubbleSize>
            <c:numRef>
              <c:f>Sheet1!$C$2:$C$6</c:f>
              <c:numCache>
                <c:formatCode>General</c:formatCode>
                <c:ptCount val="5"/>
                <c:pt idx="0">
                  <c:v>254514232</c:v>
                </c:pt>
                <c:pt idx="1">
                  <c:v>90931649</c:v>
                </c:pt>
                <c:pt idx="2">
                  <c:v>41232866</c:v>
                </c:pt>
                <c:pt idx="3">
                  <c:v>9755885</c:v>
                </c:pt>
                <c:pt idx="4">
                  <c:v>4718125</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71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DB9CF949-EB39-44E8-B579-1D5F70E4C8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666CD8-118D-4054-9863-2D7B60CA44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07214D6-B70A-4571-9531-70E2E9EB6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790A605-886C-4DFE-A64D-B0C92833C8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EAA0A70-7C5B-4B6F-B273-C0D6E5FBC3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6950AB1-7457-42B3-ACA6-18C06C0EC5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7F45F7D0-1548-4E56-9142-8D8ED9D1ED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3EA9CD-4731-4243-AB91-A08950029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1492</c:v>
                </c:pt>
                <c:pt idx="1">
                  <c:v>2.5594000000000001</c:v>
                </c:pt>
                <c:pt idx="2">
                  <c:v>2.6497000000000002</c:v>
                </c:pt>
                <c:pt idx="3">
                  <c:v>2.6737000000000002</c:v>
                </c:pt>
                <c:pt idx="4">
                  <c:v>2.1617000000000002</c:v>
                </c:pt>
              </c:numCache>
            </c:numRef>
          </c:xVal>
          <c:yVal>
            <c:numRef>
              <c:f>Sheet1!$B$2:$B$6</c:f>
              <c:numCache>
                <c:formatCode>General</c:formatCode>
                <c:ptCount val="5"/>
                <c:pt idx="0">
                  <c:v>0.89800000000000002</c:v>
                </c:pt>
                <c:pt idx="1">
                  <c:v>0.97299999999999998</c:v>
                </c:pt>
                <c:pt idx="2">
                  <c:v>1.1850000000000001</c:v>
                </c:pt>
                <c:pt idx="3">
                  <c:v>1.29</c:v>
                </c:pt>
                <c:pt idx="4">
                  <c:v>1.304</c:v>
                </c:pt>
              </c:numCache>
            </c:numRef>
          </c:yVal>
          <c:bubbleSize>
            <c:numRef>
              <c:f>Sheet1!$C$2:$C$6</c:f>
              <c:numCache>
                <c:formatCode>General</c:formatCode>
                <c:ptCount val="5"/>
                <c:pt idx="0">
                  <c:v>41826347</c:v>
                </c:pt>
                <c:pt idx="1">
                  <c:v>14865379</c:v>
                </c:pt>
                <c:pt idx="2">
                  <c:v>7961029</c:v>
                </c:pt>
                <c:pt idx="3">
                  <c:v>1935509</c:v>
                </c:pt>
                <c:pt idx="4">
                  <c:v>1289340</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C00EB9-20B0-441D-9D8A-14DEFE35A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E8AB751-DDB3-48B4-8D5B-0F83D48E57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ECA9F40-3AB7-4D7A-93DB-CDD0BBC23E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3C4D4E-709B-4461-A6A2-4942168A61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3ED7254-A9C0-498F-9F2C-15BEABDC86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9539ECDE-D622-4B87-BAEC-128201584F5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7FD40F-048D-4C9D-BB93-6E6A75E6C5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D2343C7-C750-49FC-BB9F-79F8BE4F89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9205000000000001</c:v>
                </c:pt>
                <c:pt idx="1">
                  <c:v>2.6160000000000001</c:v>
                </c:pt>
                <c:pt idx="2">
                  <c:v>2.4775999999999998</c:v>
                </c:pt>
                <c:pt idx="3">
                  <c:v>2.9125000000000001</c:v>
                </c:pt>
                <c:pt idx="4">
                  <c:v>2.4173</c:v>
                </c:pt>
              </c:numCache>
            </c:numRef>
          </c:xVal>
          <c:yVal>
            <c:numRef>
              <c:f>Sheet1!$B$2:$B$6</c:f>
              <c:numCache>
                <c:formatCode>General</c:formatCode>
                <c:ptCount val="5"/>
                <c:pt idx="0">
                  <c:v>0.86799999999999999</c:v>
                </c:pt>
                <c:pt idx="1">
                  <c:v>1.0740000000000001</c:v>
                </c:pt>
                <c:pt idx="2">
                  <c:v>1.2310000000000001</c:v>
                </c:pt>
                <c:pt idx="3">
                  <c:v>1.5529999999999999</c:v>
                </c:pt>
                <c:pt idx="4">
                  <c:v>1.615</c:v>
                </c:pt>
              </c:numCache>
            </c:numRef>
          </c:yVal>
          <c:bubbleSize>
            <c:numRef>
              <c:f>Sheet1!$C$2:$C$6</c:f>
              <c:numCache>
                <c:formatCode>General</c:formatCode>
                <c:ptCount val="5"/>
                <c:pt idx="0">
                  <c:v>28870053</c:v>
                </c:pt>
                <c:pt idx="1">
                  <c:v>16997250</c:v>
                </c:pt>
                <c:pt idx="2">
                  <c:v>3881891</c:v>
                </c:pt>
                <c:pt idx="3">
                  <c:v>1520505</c:v>
                </c:pt>
                <c:pt idx="4">
                  <c:v>772136</c:v>
                </c:pt>
              </c:numCache>
            </c:numRef>
          </c:bubbleSize>
          <c:bubble3D val="0"/>
          <c:extLst>
            <c:ext xmlns:c15="http://schemas.microsoft.com/office/drawing/2012/chart" uri="{02D57815-91ED-43cb-92C2-25804820EDAC}">
              <c15:datalabelsRange>
                <c15:f>Sheet1!$E$2:$E$10</c15:f>
                <c15:dlblRangeCache>
                  <c:ptCount val="9"/>
                  <c:pt idx="0">
                    <c:v>Mdd</c:v>
                  </c:pt>
                  <c:pt idx="1">
                    <c:v>Lactalis</c:v>
                  </c:pt>
                  <c:pt idx="2">
                    <c:v>Casa Azzurra</c:v>
                  </c:pt>
                  <c:pt idx="3">
                    <c:v>Savencia</c:v>
                  </c:pt>
                  <c:pt idx="4">
                    <c:v>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4.7</c:v>
                </c:pt>
                <c:pt idx="2">
                  <c:v>174.8</c:v>
                </c:pt>
                <c:pt idx="3">
                  <c:v>17.600000000000001</c:v>
                </c:pt>
                <c:pt idx="4">
                  <c:v>137.19999999999999</c:v>
                </c:pt>
                <c:pt idx="5">
                  <c:v>10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439-4279-B4B1-9858D2ADBF7B}"/>
                </c:ext>
              </c:extLst>
            </c:dLbl>
            <c:dLbl>
              <c:idx val="5"/>
              <c:tx>
                <c:rich>
                  <a:bodyPr/>
                  <a:lstStyle/>
                  <a:p>
                    <a:r>
                      <a:t>1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439-4279-B4B1-9858D2ADBF7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18.772300000000001</c:v>
                </c:pt>
                <c:pt idx="2">
                  <c:v>11.113200000000001</c:v>
                </c:pt>
                <c:pt idx="3">
                  <c:v>15.264099999999999</c:v>
                </c:pt>
                <c:pt idx="4">
                  <c:v>12.121</c:v>
                </c:pt>
                <c:pt idx="5">
                  <c:v>13.0668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1.3</c:v>
                </c:pt>
                <c:pt idx="2">
                  <c:v>29.7</c:v>
                </c:pt>
                <c:pt idx="3">
                  <c:v>3.3</c:v>
                </c:pt>
                <c:pt idx="4">
                  <c:v>24.2</c:v>
                </c:pt>
                <c:pt idx="5">
                  <c:v>18.89999999999999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2AC-476C-9334-05FE3F7F7B3F}"/>
                </c:ext>
              </c:extLst>
            </c:dLbl>
            <c:dLbl>
              <c:idx val="5"/>
              <c:tx>
                <c:rich>
                  <a:bodyPr/>
                  <a:lstStyle/>
                  <a:p>
                    <a:r>
                      <a:t>12.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2AC-476C-9334-05FE3F7F7B3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18.035499999999999</c:v>
                </c:pt>
                <c:pt idx="2">
                  <c:v>12.0214</c:v>
                </c:pt>
                <c:pt idx="3">
                  <c:v>15.7705</c:v>
                </c:pt>
                <c:pt idx="4">
                  <c:v>12.568</c:v>
                </c:pt>
                <c:pt idx="5">
                  <c:v>12.583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8</c:v>
                </c:pt>
                <c:pt idx="2">
                  <c:v>25.7</c:v>
                </c:pt>
                <c:pt idx="3">
                  <c:v>3.6</c:v>
                </c:pt>
                <c:pt idx="4">
                  <c:v>19.5</c:v>
                </c:pt>
                <c:pt idx="5">
                  <c:v>14.9</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B3C-4674-BB4E-7E182DD9D88D}"/>
                </c:ext>
              </c:extLst>
            </c:dLbl>
            <c:dLbl>
              <c:idx val="5"/>
              <c:tx>
                <c:rich>
                  <a:bodyPr/>
                  <a:lstStyle/>
                  <a:p>
                    <a:r>
                      <a:t>13.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B3C-4674-BB4E-7E182DD9D88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el</c:v>
                  </c:pt>
                  <c:pt idx="2">
                    <c:v>Total</c:v>
                  </c:pt>
                  <c:pt idx="3">
                    <c:v>Bel</c:v>
                  </c:pt>
                  <c:pt idx="4">
                    <c:v>Total</c:v>
                  </c:pt>
                  <c:pt idx="5">
                    <c:v>Bel</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20.2014</c:v>
                </c:pt>
                <c:pt idx="2">
                  <c:v>11.766500000000001</c:v>
                </c:pt>
                <c:pt idx="3">
                  <c:v>15.6707</c:v>
                </c:pt>
                <c:pt idx="4">
                  <c:v>12.8139</c:v>
                </c:pt>
                <c:pt idx="5">
                  <c:v>13.3579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0</c:v>
                </c:pt>
                <c:pt idx="2">
                  <c:v>174.8</c:v>
                </c:pt>
                <c:pt idx="3">
                  <c:v>1.3</c:v>
                </c:pt>
                <c:pt idx="4">
                  <c:v>137.19999999999999</c:v>
                </c:pt>
                <c:pt idx="5">
                  <c:v>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3B75-4E6C-9369-E623A8285477}"/>
                </c:ext>
              </c:extLst>
            </c:dLbl>
            <c:dLbl>
              <c:idx val="5"/>
              <c:tx>
                <c:rich>
                  <a:bodyPr/>
                  <a:lstStyle/>
                  <a:p>
                    <a:r>
                      <a:t>1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3B75-4E6C-9369-E623A828547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0</c:v>
                </c:pt>
                <c:pt idx="2">
                  <c:v>11.113200000000001</c:v>
                </c:pt>
                <c:pt idx="3">
                  <c:v>16.765899999999998</c:v>
                </c:pt>
                <c:pt idx="4">
                  <c:v>12.121</c:v>
                </c:pt>
                <c:pt idx="5">
                  <c:v>12.9326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0</c:v>
                </c:pt>
                <c:pt idx="2">
                  <c:v>174.8</c:v>
                </c:pt>
                <c:pt idx="3">
                  <c:v>0</c:v>
                </c:pt>
                <c:pt idx="4">
                  <c:v>137.19999999999999</c:v>
                </c:pt>
                <c:pt idx="5">
                  <c:v>35.7999999999999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FE33-4306-8D87-6E32D28C8C8C}"/>
                </c:ext>
              </c:extLst>
            </c:dLbl>
            <c:dLbl>
              <c:idx val="5"/>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FE33-4306-8D87-6E32D28C8C8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0</c:v>
                </c:pt>
                <c:pt idx="2">
                  <c:v>11.113200000000001</c:v>
                </c:pt>
                <c:pt idx="3">
                  <c:v>13</c:v>
                </c:pt>
                <c:pt idx="4">
                  <c:v>12.121</c:v>
                </c:pt>
                <c:pt idx="5">
                  <c:v>10.585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9A8134-509A-4FB3-8E94-3822535568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2C7A833-A0A2-4F1D-8C26-806E3EF26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7CFF72A-254D-470B-8260-F117B5B334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1D4DBEF-6B16-47CD-836D-DF9BCF33227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E8DC482-2201-4804-8D8D-4F1BB418A2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B231067-C245-4F6E-8508-79F8777AA9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69669DB-2AF6-4043-A089-F215949379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A6A3FBBA-11D7-4517-B601-8B8F60379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953999999999998</c:v>
                </c:pt>
                <c:pt idx="1">
                  <c:v>2.4110999999999998</c:v>
                </c:pt>
                <c:pt idx="2">
                  <c:v>3.0028999999999999</c:v>
                </c:pt>
                <c:pt idx="3">
                  <c:v>2.3096999999999999</c:v>
                </c:pt>
                <c:pt idx="4">
                  <c:v>2.8786</c:v>
                </c:pt>
                <c:pt idx="5">
                  <c:v>3.2258</c:v>
                </c:pt>
                <c:pt idx="6">
                  <c:v>2.9295</c:v>
                </c:pt>
                <c:pt idx="7">
                  <c:v>2.3601000000000001</c:v>
                </c:pt>
              </c:numCache>
            </c:numRef>
          </c:xVal>
          <c:yVal>
            <c:numRef>
              <c:f>Sheet1!$B$2:$B$9</c:f>
              <c:numCache>
                <c:formatCode>General</c:formatCode>
                <c:ptCount val="8"/>
                <c:pt idx="0">
                  <c:v>0.88300000000000001</c:v>
                </c:pt>
                <c:pt idx="1">
                  <c:v>0.76100000000000001</c:v>
                </c:pt>
                <c:pt idx="2">
                  <c:v>1.079</c:v>
                </c:pt>
                <c:pt idx="3">
                  <c:v>1.073</c:v>
                </c:pt>
                <c:pt idx="4">
                  <c:v>1.0229999999999999</c:v>
                </c:pt>
                <c:pt idx="5">
                  <c:v>0.82099999999999995</c:v>
                </c:pt>
                <c:pt idx="6">
                  <c:v>1.0029999999999999</c:v>
                </c:pt>
                <c:pt idx="7">
                  <c:v>1.3089999999999999</c:v>
                </c:pt>
              </c:numCache>
            </c:numRef>
          </c:yVal>
          <c:bubbleSize>
            <c:numRef>
              <c:f>Sheet1!$C$2:$C$9</c:f>
              <c:numCache>
                <c:formatCode>General</c:formatCode>
                <c:ptCount val="8"/>
                <c:pt idx="0">
                  <c:v>77897599</c:v>
                </c:pt>
                <c:pt idx="1">
                  <c:v>9302551</c:v>
                </c:pt>
                <c:pt idx="2">
                  <c:v>8811592</c:v>
                </c:pt>
                <c:pt idx="3">
                  <c:v>8667367</c:v>
                </c:pt>
                <c:pt idx="4">
                  <c:v>8594536</c:v>
                </c:pt>
                <c:pt idx="5">
                  <c:v>6741136</c:v>
                </c:pt>
                <c:pt idx="6">
                  <c:v>5831683</c:v>
                </c:pt>
                <c:pt idx="7">
                  <c:v>4325240</c:v>
                </c:pt>
              </c:numCache>
            </c:numRef>
          </c:bubbleSize>
          <c:bubble3D val="0"/>
          <c:extLst>
            <c:ext xmlns:c15="http://schemas.microsoft.com/office/drawing/2012/chart" uri="{02D57815-91ED-43cb-92C2-25804820EDAC}">
              <c15:datalabelsRange>
                <c15:f>Sheet1!$E$2:$E$10</c15:f>
                <c15:dlblRangeCache>
                  <c:ptCount val="9"/>
                  <c:pt idx="0">
                    <c:v>Private Label</c:v>
                  </c:pt>
                  <c:pt idx="1">
                    <c:v>President</c:v>
                  </c:pt>
                  <c:pt idx="2">
                    <c:v>St Moret</c:v>
                  </c:pt>
                  <c:pt idx="3">
                    <c:v>Galbani</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450.4</c:v>
                </c:pt>
                <c:pt idx="1">
                  <c:v>4.7</c:v>
                </c:pt>
                <c:pt idx="2">
                  <c:v>174.8</c:v>
                </c:pt>
                <c:pt idx="3">
                  <c:v>16.3</c:v>
                </c:pt>
                <c:pt idx="4">
                  <c:v>137.19999999999999</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8D1-400E-BAE6-50A8FB5E378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8D1-400E-BAE6-50A8FB5E378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7555</c:v>
                </c:pt>
                <c:pt idx="1">
                  <c:v>18.772300000000001</c:v>
                </c:pt>
                <c:pt idx="2">
                  <c:v>11.113200000000001</c:v>
                </c:pt>
                <c:pt idx="3">
                  <c:v>15.1593</c:v>
                </c:pt>
                <c:pt idx="4">
                  <c:v>12.12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0</c:v>
                </c:pt>
                <c:pt idx="2">
                  <c:v>29.7</c:v>
                </c:pt>
                <c:pt idx="3">
                  <c:v>0.3</c:v>
                </c:pt>
                <c:pt idx="4">
                  <c:v>24.2</c:v>
                </c:pt>
                <c:pt idx="5">
                  <c:v>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D648-4494-8DF8-4BBABB7ACB81}"/>
                </c:ext>
              </c:extLst>
            </c:dLbl>
            <c:dLbl>
              <c:idx val="5"/>
              <c:tx>
                <c:rich>
                  <a:bodyPr/>
                  <a:lstStyle/>
                  <a:p>
                    <a:r>
                      <a:t>1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D648-4494-8DF8-4BBABB7ACB8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0</c:v>
                </c:pt>
                <c:pt idx="2">
                  <c:v>12.0214</c:v>
                </c:pt>
                <c:pt idx="3">
                  <c:v>16.921199999999999</c:v>
                </c:pt>
                <c:pt idx="4">
                  <c:v>12.568</c:v>
                </c:pt>
                <c:pt idx="5">
                  <c:v>12.3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0</c:v>
                </c:pt>
                <c:pt idx="2">
                  <c:v>29.7</c:v>
                </c:pt>
                <c:pt idx="3">
                  <c:v>0</c:v>
                </c:pt>
                <c:pt idx="4">
                  <c:v>24.2</c:v>
                </c:pt>
                <c:pt idx="5">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E06-400C-AB53-6219B861AD30}"/>
                </c:ext>
              </c:extLst>
            </c:dLbl>
            <c:dLbl>
              <c:idx val="5"/>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E06-400C-AB53-6219B861AD3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0</c:v>
                </c:pt>
                <c:pt idx="2">
                  <c:v>12.0214</c:v>
                </c:pt>
                <c:pt idx="3">
                  <c:v>13</c:v>
                </c:pt>
                <c:pt idx="4">
                  <c:v>12.568</c:v>
                </c:pt>
                <c:pt idx="5">
                  <c:v>10.21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79.900000000000006</c:v>
                </c:pt>
                <c:pt idx="1">
                  <c:v>1.3</c:v>
                </c:pt>
                <c:pt idx="2">
                  <c:v>29.7</c:v>
                </c:pt>
                <c:pt idx="3">
                  <c:v>3</c:v>
                </c:pt>
                <c:pt idx="4">
                  <c:v>24.2</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7C0-4858-851D-36DF844D91E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7C0-4858-851D-36DF844D91E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3.827</c:v>
                </c:pt>
                <c:pt idx="1">
                  <c:v>18.035499999999999</c:v>
                </c:pt>
                <c:pt idx="2">
                  <c:v>12.0214</c:v>
                </c:pt>
                <c:pt idx="3">
                  <c:v>15.6629</c:v>
                </c:pt>
                <c:pt idx="4">
                  <c:v>12.568</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c:v>
                </c:pt>
                <c:pt idx="2">
                  <c:v>25.7</c:v>
                </c:pt>
                <c:pt idx="3">
                  <c:v>0.2</c:v>
                </c:pt>
                <c:pt idx="4">
                  <c:v>19.5</c:v>
                </c:pt>
                <c:pt idx="5">
                  <c:v>4.5999999999999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9.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F5A-421E-BBCB-88BDF418119C}"/>
                </c:ext>
              </c:extLst>
            </c:dLbl>
            <c:dLbl>
              <c:idx val="5"/>
              <c:tx>
                <c:rich>
                  <a:bodyPr/>
                  <a:lstStyle/>
                  <a:p>
                    <a:r>
                      <a:t>1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F5A-421E-BBCB-88BDF418119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Kiri</c:v>
                  </c:pt>
                  <c:pt idx="2">
                    <c:v>Total</c:v>
                  </c:pt>
                  <c:pt idx="3">
                    <c:v>Kiri</c:v>
                  </c:pt>
                  <c:pt idx="4">
                    <c:v>Total</c:v>
                  </c:pt>
                  <c:pt idx="5">
                    <c:v>Kiri</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0</c:v>
                </c:pt>
                <c:pt idx="2">
                  <c:v>11.766500000000001</c:v>
                </c:pt>
                <c:pt idx="3">
                  <c:v>19.272300000000001</c:v>
                </c:pt>
                <c:pt idx="4">
                  <c:v>12.8139</c:v>
                </c:pt>
                <c:pt idx="5">
                  <c:v>13.1583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c:v>
                </c:pt>
                <c:pt idx="2">
                  <c:v>25.7</c:v>
                </c:pt>
                <c:pt idx="3">
                  <c:v>0</c:v>
                </c:pt>
                <c:pt idx="4">
                  <c:v>19.5</c:v>
                </c:pt>
                <c:pt idx="5">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2602-49FE-B176-678F5E3D0CCE}"/>
                </c:ext>
              </c:extLst>
            </c:dLbl>
            <c:dLbl>
              <c:idx val="5"/>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2602-49FE-B176-678F5E3D0CC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La Vache Qui Rit</c:v>
                  </c:pt>
                  <c:pt idx="2">
                    <c:v>Total</c:v>
                  </c:pt>
                  <c:pt idx="3">
                    <c:v>La Vache Qui Rit</c:v>
                  </c:pt>
                  <c:pt idx="4">
                    <c:v>Total</c:v>
                  </c:pt>
                  <c:pt idx="5">
                    <c:v>La Vache Qui Rit</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0</c:v>
                </c:pt>
                <c:pt idx="2">
                  <c:v>11.766500000000001</c:v>
                </c:pt>
                <c:pt idx="3">
                  <c:v>0</c:v>
                </c:pt>
                <c:pt idx="4">
                  <c:v>12.8139</c:v>
                </c:pt>
                <c:pt idx="5">
                  <c:v>11.2734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D$2:$D$7</c:f>
              <c:numCache>
                <c:formatCode>General</c:formatCode>
                <c:ptCount val="6"/>
                <c:pt idx="0">
                  <c:v>56.2</c:v>
                </c:pt>
                <c:pt idx="1">
                  <c:v>0.8</c:v>
                </c:pt>
                <c:pt idx="2">
                  <c:v>25.7</c:v>
                </c:pt>
                <c:pt idx="3">
                  <c:v>3.5</c:v>
                </c:pt>
                <c:pt idx="4">
                  <c:v>19.5</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1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52A1-4A16-BD04-63CE424397D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52A1-4A16-BD04-63CE424397D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Boursin</c:v>
                  </c:pt>
                  <c:pt idx="2">
                    <c:v>Total</c:v>
                  </c:pt>
                  <c:pt idx="3">
                    <c:v>Boursin</c:v>
                  </c:pt>
                  <c:pt idx="4">
                    <c:v>Total</c:v>
                  </c:pt>
                  <c:pt idx="5">
                    <c:v>Boursin</c:v>
                  </c:pt>
                </c:lvl>
                <c:lvl>
                  <c:pt idx="0">
                    <c:v>Salade</c:v>
                  </c:pt>
                  <c:pt idx="2">
                    <c:v>Frais A Tartiner</c:v>
                  </c:pt>
                  <c:pt idx="4">
                    <c:v>Enfant</c:v>
                  </c:pt>
                </c:lvl>
                <c:lvl>
                  <c:pt idx="0">
                    <c:v>Soft Cheese</c:v>
                  </c:pt>
                </c:lvl>
              </c:multiLvlStrCache>
            </c:multiLvlStrRef>
          </c:cat>
          <c:val>
            <c:numRef>
              <c:f>Sheet1!$E$2:$E$7</c:f>
              <c:numCache>
                <c:formatCode>General</c:formatCode>
                <c:ptCount val="6"/>
                <c:pt idx="0">
                  <c:v>12.5101</c:v>
                </c:pt>
                <c:pt idx="1">
                  <c:v>20.2014</c:v>
                </c:pt>
                <c:pt idx="2">
                  <c:v>11.766500000000001</c:v>
                </c:pt>
                <c:pt idx="3">
                  <c:v>15.525</c:v>
                </c:pt>
                <c:pt idx="4">
                  <c:v>12.8139</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1301.0999999999999</c:v>
                </c:pt>
                <c:pt idx="1">
                  <c:v>29.3</c:v>
                </c:pt>
                <c:pt idx="2">
                  <c:v>54.7</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9C0-4B38-88B6-4217097CE6E8}"/>
                </c:ext>
              </c:extLst>
            </c:dLbl>
            <c:dLbl>
              <c:idx val="1"/>
              <c:tx>
                <c:rich>
                  <a:bodyPr/>
                  <a:lstStyle/>
                  <a:p>
                    <a:r>
                      <a:t>13.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9C0-4B38-88B6-4217097CE6E8}"/>
                </c:ext>
              </c:extLst>
            </c:dLbl>
            <c:dLbl>
              <c:idx val="2"/>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9C0-4B38-88B6-4217097CE6E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9C0-4B38-88B6-4217097CE6E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1.5596</c:v>
                </c:pt>
                <c:pt idx="1">
                  <c:v>13.0609</c:v>
                </c:pt>
                <c:pt idx="2">
                  <c:v>19.861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1301.0999999999999</c:v>
                </c:pt>
                <c:pt idx="1">
                  <c:v>35.799999999999997</c:v>
                </c:pt>
                <c:pt idx="2">
                  <c:v>54.7</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EFD2-4C0F-BE41-FC9BB74F9EA4}"/>
                </c:ext>
              </c:extLst>
            </c:dLbl>
            <c:dLbl>
              <c:idx val="1"/>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EFD2-4C0F-BE41-FC9BB74F9EA4}"/>
                </c:ext>
              </c:extLst>
            </c:dLbl>
            <c:dLbl>
              <c:idx val="2"/>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FD2-4C0F-BE41-FC9BB74F9EA4}"/>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FD2-4C0F-BE41-FC9BB74F9EA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1.5596</c:v>
                </c:pt>
                <c:pt idx="1">
                  <c:v>10.585000000000001</c:v>
                </c:pt>
                <c:pt idx="2">
                  <c:v>19.861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1301.0999999999999</c:v>
                </c:pt>
                <c:pt idx="1">
                  <c:v>21</c:v>
                </c:pt>
                <c:pt idx="2">
                  <c:v>54.7</c:v>
                </c:pt>
                <c:pt idx="3">
                  <c:v>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FCB-4AFE-8691-BC74DC05C2AA}"/>
                </c:ext>
              </c:extLst>
            </c:dLbl>
            <c:dLbl>
              <c:idx val="1"/>
              <c:tx>
                <c:rich>
                  <a:bodyPr/>
                  <a:lstStyle/>
                  <a:p>
                    <a:r>
                      <a:t>15.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FCB-4AFE-8691-BC74DC05C2AA}"/>
                </c:ext>
              </c:extLst>
            </c:dLbl>
            <c:dLbl>
              <c:idx val="2"/>
              <c:tx>
                <c:rich>
                  <a:bodyPr/>
                  <a:lstStyle/>
                  <a:p>
                    <a:r>
                      <a:t>19.8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FCB-4AFE-8691-BC74DC05C2AA}"/>
                </c:ext>
              </c:extLst>
            </c:dLbl>
            <c:dLbl>
              <c:idx val="3"/>
              <c:tx>
                <c:rich>
                  <a:bodyPr/>
                  <a:lstStyle/>
                  <a:p>
                    <a:r>
                      <a:t>35.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FCB-4AFE-8691-BC74DC05C2A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1.5596</c:v>
                </c:pt>
                <c:pt idx="1">
                  <c:v>15.8439</c:v>
                </c:pt>
                <c:pt idx="2">
                  <c:v>19.8611</c:v>
                </c:pt>
                <c:pt idx="3">
                  <c:v>35.0559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F3DAD68B-1998-470B-86F1-5BAE351691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85373437-AA87-4218-9F82-260B247E83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1B634740-63CA-4F92-AEFD-8A419BD0F5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E717772-6355-4D05-898E-96C4D21706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A2E25269-8CFA-4FCC-A4DD-3C18805841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E89AE2C6-972D-4786-9041-C865C2DA7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C5F39A05-6C49-4538-ABD1-0D26F5AC2D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4B87FD95-D972-45D2-982C-6D01DC39DB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3.8580999999999999</c:v>
                </c:pt>
                <c:pt idx="1">
                  <c:v>2.1343000000000001</c:v>
                </c:pt>
                <c:pt idx="2">
                  <c:v>3.4523000000000001</c:v>
                </c:pt>
                <c:pt idx="3">
                  <c:v>3.1278999999999999</c:v>
                </c:pt>
                <c:pt idx="4">
                  <c:v>2.6861999999999999</c:v>
                </c:pt>
                <c:pt idx="5">
                  <c:v>5.2592999999999996</c:v>
                </c:pt>
                <c:pt idx="6">
                  <c:v>1.8669</c:v>
                </c:pt>
              </c:numCache>
            </c:numRef>
          </c:xVal>
          <c:yVal>
            <c:numRef>
              <c:f>Sheet1!$B$2:$B$8</c:f>
              <c:numCache>
                <c:formatCode>General</c:formatCode>
                <c:ptCount val="7"/>
                <c:pt idx="0">
                  <c:v>0.871</c:v>
                </c:pt>
                <c:pt idx="1">
                  <c:v>1.0189999999999999</c:v>
                </c:pt>
                <c:pt idx="2">
                  <c:v>1.6479999999999999</c:v>
                </c:pt>
                <c:pt idx="3">
                  <c:v>1.492</c:v>
                </c:pt>
                <c:pt idx="4">
                  <c:v>1.2849999999999999</c:v>
                </c:pt>
                <c:pt idx="5">
                  <c:v>1.585</c:v>
                </c:pt>
                <c:pt idx="6">
                  <c:v>1.9950000000000001</c:v>
                </c:pt>
              </c:numCache>
            </c:numRef>
          </c:yVal>
          <c:bubbleSize>
            <c:numRef>
              <c:f>Sheet1!$C$2:$C$8</c:f>
              <c:numCache>
                <c:formatCode>General</c:formatCode>
                <c:ptCount val="7"/>
                <c:pt idx="0">
                  <c:v>6113168</c:v>
                </c:pt>
                <c:pt idx="1">
                  <c:v>1692864</c:v>
                </c:pt>
                <c:pt idx="2">
                  <c:v>1030688</c:v>
                </c:pt>
                <c:pt idx="3">
                  <c:v>505315</c:v>
                </c:pt>
                <c:pt idx="4">
                  <c:v>349471</c:v>
                </c:pt>
                <c:pt idx="5">
                  <c:v>128289</c:v>
                </c:pt>
                <c:pt idx="6">
                  <c:v>121788</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Private Label</c:v>
                  </c:pt>
                  <c:pt idx="4">
                    <c:v>St Moret</c:v>
                  </c:pt>
                  <c:pt idx="5">
                    <c:v>O'Tapas Apero</c:v>
                  </c:pt>
                  <c:pt idx="6">
                    <c:v>Leerdammer</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6"/>
          <c:min val="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221.9</c:v>
                </c:pt>
                <c:pt idx="1">
                  <c:v>5.8</c:v>
                </c:pt>
                <c:pt idx="2">
                  <c:v>1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3CB-46ED-BD3A-FF6799869E29}"/>
                </c:ext>
              </c:extLst>
            </c:dLbl>
            <c:dLbl>
              <c:idx val="1"/>
              <c:tx>
                <c:rich>
                  <a:bodyPr/>
                  <a:lstStyle/>
                  <a:p>
                    <a:r>
                      <a:t>12.4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53CB-46ED-BD3A-FF6799869E29}"/>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53CB-46ED-BD3A-FF6799869E2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53CB-46ED-BD3A-FF6799869E2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2.4506</c:v>
                </c:pt>
                <c:pt idx="1">
                  <c:v>12.491099999999999</c:v>
                </c:pt>
                <c:pt idx="2">
                  <c:v>20.987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221.9</c:v>
                </c:pt>
                <c:pt idx="1">
                  <c:v>6.7</c:v>
                </c:pt>
                <c:pt idx="2">
                  <c:v>10.3</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D305-478C-A969-60DB6FF34B5B}"/>
                </c:ext>
              </c:extLst>
            </c:dLbl>
            <c:dLbl>
              <c:idx val="1"/>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D305-478C-A969-60DB6FF34B5B}"/>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D305-478C-A969-60DB6FF34B5B}"/>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305-478C-A969-60DB6FF34B5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2.4506</c:v>
                </c:pt>
                <c:pt idx="1">
                  <c:v>10.2166</c:v>
                </c:pt>
                <c:pt idx="2">
                  <c:v>20.9879</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221.9</c:v>
                </c:pt>
                <c:pt idx="1">
                  <c:v>4.3</c:v>
                </c:pt>
                <c:pt idx="2">
                  <c:v>10.3</c:v>
                </c:pt>
                <c:pt idx="3">
                  <c:v>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66C6-4279-B515-2D291037F30D}"/>
                </c:ext>
              </c:extLst>
            </c:dLbl>
            <c:dLbl>
              <c:idx val="1"/>
              <c:tx>
                <c:rich>
                  <a:bodyPr/>
                  <a:lstStyle/>
                  <a:p>
                    <a:r>
                      <a:t>1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66C6-4279-B515-2D291037F30D}"/>
                </c:ext>
              </c:extLst>
            </c:dLbl>
            <c:dLbl>
              <c:idx val="2"/>
              <c:tx>
                <c:rich>
                  <a:bodyPr/>
                  <a:lstStyle/>
                  <a:p>
                    <a:r>
                      <a:t>2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66C6-4279-B515-2D291037F30D}"/>
                </c:ext>
              </c:extLst>
            </c:dLbl>
            <c:dLbl>
              <c:idx val="3"/>
              <c:tx>
                <c:rich>
                  <a:bodyPr/>
                  <a:lstStyle/>
                  <a:p>
                    <a:r>
                      <a:t>34.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6C6-4279-B515-2D291037F30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2.4506</c:v>
                </c:pt>
                <c:pt idx="1">
                  <c:v>16.302199999999999</c:v>
                </c:pt>
                <c:pt idx="2">
                  <c:v>20.9879</c:v>
                </c:pt>
                <c:pt idx="3">
                  <c:v>34.5985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C$2:$C$5</c:f>
              <c:numCache>
                <c:formatCode>General</c:formatCode>
                <c:ptCount val="4"/>
                <c:pt idx="0">
                  <c:v>173.7</c:v>
                </c:pt>
                <c:pt idx="1">
                  <c:v>4.7</c:v>
                </c:pt>
                <c:pt idx="2">
                  <c:v>10</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F637-4DAC-93AA-D7C48EC5E733}"/>
                </c:ext>
              </c:extLst>
            </c:dLbl>
            <c:dLbl>
              <c:idx val="1"/>
              <c:tx>
                <c:rich>
                  <a:bodyPr/>
                  <a:lstStyle/>
                  <a:p>
                    <a:r>
                      <a:t>13.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F637-4DAC-93AA-D7C48EC5E733}"/>
                </c:ext>
              </c:extLst>
            </c:dLbl>
            <c:dLbl>
              <c:idx val="2"/>
              <c:tx>
                <c:rich>
                  <a:bodyPr/>
                  <a:lstStyle/>
                  <a:p>
                    <a:r>
                      <a:t>20.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F637-4DAC-93AA-D7C48EC5E733}"/>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F637-4DAC-93AA-D7C48EC5E73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Kiri</c:v>
                  </c:pt>
                  <c:pt idx="2">
                    <c:v>Total</c:v>
                  </c:pt>
                  <c:pt idx="3">
                    <c:v>Kiri</c:v>
                  </c:pt>
                </c:lvl>
                <c:lvl>
                  <c:pt idx="0">
                    <c:v>Soft Cheese</c:v>
                  </c:pt>
                  <c:pt idx="2">
                    <c:v>Aperitif</c:v>
                  </c:pt>
                </c:lvl>
              </c:multiLvlStrCache>
            </c:multiLvlStrRef>
          </c:cat>
          <c:val>
            <c:numRef>
              <c:f>Sheet1!$D$2:$D$5</c:f>
              <c:numCache>
                <c:formatCode>General</c:formatCode>
                <c:ptCount val="4"/>
                <c:pt idx="0">
                  <c:v>11.572800000000001</c:v>
                </c:pt>
                <c:pt idx="1">
                  <c:v>13.3132</c:v>
                </c:pt>
                <c:pt idx="2">
                  <c:v>20.2602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C$2:$C$5</c:f>
              <c:numCache>
                <c:formatCode>General</c:formatCode>
                <c:ptCount val="4"/>
                <c:pt idx="0">
                  <c:v>173.7</c:v>
                </c:pt>
                <c:pt idx="1">
                  <c:v>5.7</c:v>
                </c:pt>
                <c:pt idx="2">
                  <c:v>10</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0F8-4418-A723-B3949D3D5DCD}"/>
                </c:ext>
              </c:extLst>
            </c:dLbl>
            <c:dLbl>
              <c:idx val="1"/>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0F8-4418-A723-B3949D3D5DCD}"/>
                </c:ext>
              </c:extLst>
            </c:dLbl>
            <c:dLbl>
              <c:idx val="2"/>
              <c:tx>
                <c:rich>
                  <a:bodyPr/>
                  <a:lstStyle/>
                  <a:p>
                    <a:r>
                      <a:t>20.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0F8-4418-A723-B3949D3D5DC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0F8-4418-A723-B3949D3D5DC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La Vache Qui Rit</c:v>
                  </c:pt>
                  <c:pt idx="2">
                    <c:v>Total</c:v>
                  </c:pt>
                  <c:pt idx="3">
                    <c:v>La Vache Qui Rit</c:v>
                  </c:pt>
                </c:lvl>
                <c:lvl>
                  <c:pt idx="0">
                    <c:v>Soft Cheese</c:v>
                  </c:pt>
                  <c:pt idx="2">
                    <c:v>Aperitif</c:v>
                  </c:pt>
                </c:lvl>
              </c:multiLvlStrCache>
            </c:multiLvlStrRef>
          </c:cat>
          <c:val>
            <c:numRef>
              <c:f>Sheet1!$D$2:$D$5</c:f>
              <c:numCache>
                <c:formatCode>General</c:formatCode>
                <c:ptCount val="4"/>
                <c:pt idx="0">
                  <c:v>11.572800000000001</c:v>
                </c:pt>
                <c:pt idx="1">
                  <c:v>11.273400000000001</c:v>
                </c:pt>
                <c:pt idx="2">
                  <c:v>20.260200000000001</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C$2:$C$5</c:f>
              <c:numCache>
                <c:formatCode>General</c:formatCode>
                <c:ptCount val="4"/>
                <c:pt idx="0">
                  <c:v>173.7</c:v>
                </c:pt>
                <c:pt idx="1">
                  <c:v>4.2</c:v>
                </c:pt>
                <c:pt idx="2">
                  <c:v>10</c:v>
                </c:pt>
                <c:pt idx="3">
                  <c:v>1.2</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1.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0BB-4C27-A64B-B7486FB40355}"/>
                </c:ext>
              </c:extLst>
            </c:dLbl>
            <c:dLbl>
              <c:idx val="1"/>
              <c:tx>
                <c:rich>
                  <a:bodyPr/>
                  <a:lstStyle/>
                  <a:p>
                    <a:r>
                      <a:t>16.2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0BB-4C27-A64B-B7486FB40355}"/>
                </c:ext>
              </c:extLst>
            </c:dLbl>
            <c:dLbl>
              <c:idx val="2"/>
              <c:tx>
                <c:rich>
                  <a:bodyPr/>
                  <a:lstStyle/>
                  <a:p>
                    <a:r>
                      <a:t>20.2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0BB-4C27-A64B-B7486FB40355}"/>
                </c:ext>
              </c:extLst>
            </c:dLbl>
            <c:dLbl>
              <c:idx val="3"/>
              <c:tx>
                <c:rich>
                  <a:bodyPr/>
                  <a:lstStyle/>
                  <a:p>
                    <a:r>
                      <a:t>35.6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0BB-4C27-A64B-B7486FB4035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Boursin</c:v>
                  </c:pt>
                  <c:pt idx="2">
                    <c:v>Total</c:v>
                  </c:pt>
                  <c:pt idx="3">
                    <c:v>Boursin</c:v>
                  </c:pt>
                </c:lvl>
                <c:lvl>
                  <c:pt idx="0">
                    <c:v>Soft Cheese</c:v>
                  </c:pt>
                  <c:pt idx="2">
                    <c:v>Aperitif</c:v>
                  </c:pt>
                </c:lvl>
              </c:multiLvlStrCache>
            </c:multiLvlStrRef>
          </c:cat>
          <c:val>
            <c:numRef>
              <c:f>Sheet1!$D$2:$D$5</c:f>
              <c:numCache>
                <c:formatCode>General</c:formatCode>
                <c:ptCount val="4"/>
                <c:pt idx="0">
                  <c:v>11.572800000000001</c:v>
                </c:pt>
                <c:pt idx="1">
                  <c:v>16.208100000000002</c:v>
                </c:pt>
                <c:pt idx="2">
                  <c:v>20.260200000000001</c:v>
                </c:pt>
                <c:pt idx="3">
                  <c:v>35.6698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312-40FC-B224-46B47864442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312-40FC-B224-46B4786444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50.4</c:v>
                </c:pt>
                <c:pt idx="1">
                  <c:v>0</c:v>
                </c:pt>
                <c:pt idx="2">
                  <c:v>296.5</c:v>
                </c:pt>
                <c:pt idx="3">
                  <c:v>0</c:v>
                </c:pt>
                <c:pt idx="4">
                  <c:v>201.6</c:v>
                </c:pt>
                <c:pt idx="5">
                  <c:v>0</c:v>
                </c:pt>
                <c:pt idx="6">
                  <c:v>174.8</c:v>
                </c:pt>
                <c:pt idx="7">
                  <c:v>1.3</c:v>
                </c:pt>
                <c:pt idx="8">
                  <c:v>137.19999999999999</c:v>
                </c:pt>
                <c:pt idx="9">
                  <c:v>2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312-40FC-B224-46B47864442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312-40FC-B224-46B478644429}"/>
                </c:ext>
              </c:extLst>
            </c:dLbl>
            <c:dLbl>
              <c:idx val="2"/>
              <c:tx>
                <c:rich>
                  <a:bodyPr/>
                  <a:lstStyle/>
                  <a:p>
                    <a:r>
                      <a:t>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312-40FC-B224-46B47864442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312-40FC-B224-46B478644429}"/>
                </c:ext>
              </c:extLst>
            </c:dLbl>
            <c:dLbl>
              <c:idx val="4"/>
              <c:tx>
                <c:rich>
                  <a:bodyPr/>
                  <a:lstStyle/>
                  <a:p>
                    <a:r>
                      <a:t>1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312-40FC-B224-46B47864442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312-40FC-B224-46B478644429}"/>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312-40FC-B224-46B478644429}"/>
                </c:ext>
              </c:extLst>
            </c:dLbl>
            <c:dLbl>
              <c:idx val="7"/>
              <c:tx>
                <c:rich>
                  <a:bodyPr/>
                  <a:lstStyle/>
                  <a:p>
                    <a:r>
                      <a:t>16.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312-40FC-B224-46B478644429}"/>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312-40FC-B224-46B478644429}"/>
                </c:ext>
              </c:extLst>
            </c:dLbl>
            <c:dLbl>
              <c:idx val="9"/>
              <c:tx>
                <c:rich>
                  <a:bodyPr/>
                  <a:lstStyle/>
                  <a:p>
                    <a:r>
                      <a:t>12.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312-40FC-B224-46B47864442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555</c:v>
                </c:pt>
                <c:pt idx="1">
                  <c:v>0</c:v>
                </c:pt>
                <c:pt idx="2">
                  <c:v>8.9021000000000008</c:v>
                </c:pt>
                <c:pt idx="3">
                  <c:v>0</c:v>
                </c:pt>
                <c:pt idx="4">
                  <c:v>13.635400000000001</c:v>
                </c:pt>
                <c:pt idx="5">
                  <c:v>0</c:v>
                </c:pt>
                <c:pt idx="6">
                  <c:v>11.113200000000001</c:v>
                </c:pt>
                <c:pt idx="7">
                  <c:v>16.765899999999998</c:v>
                </c:pt>
                <c:pt idx="8">
                  <c:v>12.121</c:v>
                </c:pt>
                <c:pt idx="9">
                  <c:v>12.9326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61F-4761-806A-1391EFF8E37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61F-4761-806A-1391EFF8E37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50.4</c:v>
                </c:pt>
                <c:pt idx="1">
                  <c:v>0</c:v>
                </c:pt>
                <c:pt idx="2">
                  <c:v>296.5</c:v>
                </c:pt>
                <c:pt idx="3">
                  <c:v>0</c:v>
                </c:pt>
                <c:pt idx="4">
                  <c:v>201.6</c:v>
                </c:pt>
                <c:pt idx="5">
                  <c:v>0</c:v>
                </c:pt>
                <c:pt idx="6">
                  <c:v>174.8</c:v>
                </c:pt>
                <c:pt idx="7">
                  <c:v>0</c:v>
                </c:pt>
                <c:pt idx="8">
                  <c:v>137.19999999999999</c:v>
                </c:pt>
                <c:pt idx="9">
                  <c:v>35.79999999999999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61F-4761-806A-1391EFF8E37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61F-4761-806A-1391EFF8E37C}"/>
                </c:ext>
              </c:extLst>
            </c:dLbl>
            <c:dLbl>
              <c:idx val="2"/>
              <c:tx>
                <c:rich>
                  <a:bodyPr/>
                  <a:lstStyle/>
                  <a:p>
                    <a:r>
                      <a:t>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61F-4761-806A-1391EFF8E37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61F-4761-806A-1391EFF8E37C}"/>
                </c:ext>
              </c:extLst>
            </c:dLbl>
            <c:dLbl>
              <c:idx val="4"/>
              <c:tx>
                <c:rich>
                  <a:bodyPr/>
                  <a:lstStyle/>
                  <a:p>
                    <a:r>
                      <a:t>1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61F-4761-806A-1391EFF8E37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61F-4761-806A-1391EFF8E37C}"/>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61F-4761-806A-1391EFF8E37C}"/>
                </c:ext>
              </c:extLst>
            </c:dLbl>
            <c:dLbl>
              <c:idx val="7"/>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61F-4761-806A-1391EFF8E37C}"/>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61F-4761-806A-1391EFF8E37C}"/>
                </c:ext>
              </c:extLst>
            </c:dLbl>
            <c:dLbl>
              <c:idx val="9"/>
              <c:tx>
                <c:rich>
                  <a:bodyPr/>
                  <a:lstStyle/>
                  <a:p>
                    <a:r>
                      <a:t>10.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61F-4761-806A-1391EFF8E3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555</c:v>
                </c:pt>
                <c:pt idx="1">
                  <c:v>0</c:v>
                </c:pt>
                <c:pt idx="2">
                  <c:v>8.9021000000000008</c:v>
                </c:pt>
                <c:pt idx="3">
                  <c:v>0</c:v>
                </c:pt>
                <c:pt idx="4">
                  <c:v>13.635400000000001</c:v>
                </c:pt>
                <c:pt idx="5">
                  <c:v>0</c:v>
                </c:pt>
                <c:pt idx="6">
                  <c:v>11.113200000000001</c:v>
                </c:pt>
                <c:pt idx="7">
                  <c:v>13</c:v>
                </c:pt>
                <c:pt idx="8">
                  <c:v>12.121</c:v>
                </c:pt>
                <c:pt idx="9">
                  <c:v>10.585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C1BF-4851-94AF-B7AB9D09CD6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C1BF-4851-94AF-B7AB9D09CD68}"/>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450.4</c:v>
                </c:pt>
                <c:pt idx="1">
                  <c:v>4.7</c:v>
                </c:pt>
                <c:pt idx="2">
                  <c:v>296.5</c:v>
                </c:pt>
                <c:pt idx="3">
                  <c:v>0</c:v>
                </c:pt>
                <c:pt idx="4">
                  <c:v>201.6</c:v>
                </c:pt>
                <c:pt idx="5">
                  <c:v>0</c:v>
                </c:pt>
                <c:pt idx="6">
                  <c:v>174.8</c:v>
                </c:pt>
                <c:pt idx="7">
                  <c:v>16.3</c:v>
                </c:pt>
                <c:pt idx="8">
                  <c:v>137.19999999999999</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1BF-4851-94AF-B7AB9D09CD68}"/>
                </c:ext>
              </c:extLst>
            </c:dLbl>
            <c:dLbl>
              <c:idx val="1"/>
              <c:tx>
                <c:rich>
                  <a:bodyPr/>
                  <a:lstStyle/>
                  <a:p>
                    <a:r>
                      <a:t>18.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1BF-4851-94AF-B7AB9D09CD68}"/>
                </c:ext>
              </c:extLst>
            </c:dLbl>
            <c:dLbl>
              <c:idx val="2"/>
              <c:tx>
                <c:rich>
                  <a:bodyPr/>
                  <a:lstStyle/>
                  <a:p>
                    <a:r>
                      <a:t>8.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1BF-4851-94AF-B7AB9D09CD6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1BF-4851-94AF-B7AB9D09CD68}"/>
                </c:ext>
              </c:extLst>
            </c:dLbl>
            <c:dLbl>
              <c:idx val="4"/>
              <c:tx>
                <c:rich>
                  <a:bodyPr/>
                  <a:lstStyle/>
                  <a:p>
                    <a:r>
                      <a:t>13.6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1BF-4851-94AF-B7AB9D09CD68}"/>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1BF-4851-94AF-B7AB9D09CD68}"/>
                </c:ext>
              </c:extLst>
            </c:dLbl>
            <c:dLbl>
              <c:idx val="6"/>
              <c:tx>
                <c:rich>
                  <a:bodyPr/>
                  <a:lstStyle/>
                  <a:p>
                    <a:r>
                      <a:t>11.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1BF-4851-94AF-B7AB9D09CD68}"/>
                </c:ext>
              </c:extLst>
            </c:dLbl>
            <c:dLbl>
              <c:idx val="7"/>
              <c:tx>
                <c:rich>
                  <a:bodyPr/>
                  <a:lstStyle/>
                  <a:p>
                    <a:r>
                      <a:t>15.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1BF-4851-94AF-B7AB9D09CD68}"/>
                </c:ext>
              </c:extLst>
            </c:dLbl>
            <c:dLbl>
              <c:idx val="8"/>
              <c:tx>
                <c:rich>
                  <a:bodyPr/>
                  <a:lstStyle/>
                  <a:p>
                    <a:r>
                      <a:t>12.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1BF-4851-94AF-B7AB9D09CD68}"/>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C1BF-4851-94AF-B7AB9D09CD6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2.7555</c:v>
                </c:pt>
                <c:pt idx="1">
                  <c:v>18.772300000000001</c:v>
                </c:pt>
                <c:pt idx="2">
                  <c:v>8.9021000000000008</c:v>
                </c:pt>
                <c:pt idx="3">
                  <c:v>0</c:v>
                </c:pt>
                <c:pt idx="4">
                  <c:v>13.635400000000001</c:v>
                </c:pt>
                <c:pt idx="5">
                  <c:v>0</c:v>
                </c:pt>
                <c:pt idx="6">
                  <c:v>11.113200000000001</c:v>
                </c:pt>
                <c:pt idx="7">
                  <c:v>15.1593</c:v>
                </c:pt>
                <c:pt idx="8">
                  <c:v>12.121</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58F6-4227-837C-C46CE63D2A3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58F6-4227-837C-C46CE63D2A3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0</c:v>
                </c:pt>
                <c:pt idx="2">
                  <c:v>48.8</c:v>
                </c:pt>
                <c:pt idx="3">
                  <c:v>0</c:v>
                </c:pt>
                <c:pt idx="4">
                  <c:v>33</c:v>
                </c:pt>
                <c:pt idx="5">
                  <c:v>0</c:v>
                </c:pt>
                <c:pt idx="6">
                  <c:v>29.7</c:v>
                </c:pt>
                <c:pt idx="7">
                  <c:v>0.3</c:v>
                </c:pt>
                <c:pt idx="8">
                  <c:v>24.2</c:v>
                </c:pt>
                <c:pt idx="9">
                  <c:v>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58F6-4227-837C-C46CE63D2A39}"/>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58F6-4227-837C-C46CE63D2A39}"/>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58F6-4227-837C-C46CE63D2A3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58F6-4227-837C-C46CE63D2A39}"/>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58F6-4227-837C-C46CE63D2A39}"/>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58F6-4227-837C-C46CE63D2A39}"/>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58F6-4227-837C-C46CE63D2A39}"/>
                </c:ext>
              </c:extLst>
            </c:dLbl>
            <c:dLbl>
              <c:idx val="7"/>
              <c:tx>
                <c:rich>
                  <a:bodyPr/>
                  <a:lstStyle/>
                  <a:p>
                    <a:r>
                      <a:t>16.9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58F6-4227-837C-C46CE63D2A39}"/>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58F6-4227-837C-C46CE63D2A39}"/>
                </c:ext>
              </c:extLst>
            </c:dLbl>
            <c:dLbl>
              <c:idx val="9"/>
              <c:tx>
                <c:rich>
                  <a:bodyPr/>
                  <a:lstStyle/>
                  <a:p>
                    <a:r>
                      <a:t>12.3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58F6-4227-837C-C46CE63D2A3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0</c:v>
                </c:pt>
                <c:pt idx="2">
                  <c:v>9.4540000000000006</c:v>
                </c:pt>
                <c:pt idx="3">
                  <c:v>0</c:v>
                </c:pt>
                <c:pt idx="4">
                  <c:v>15.096</c:v>
                </c:pt>
                <c:pt idx="5">
                  <c:v>0</c:v>
                </c:pt>
                <c:pt idx="6">
                  <c:v>12.0214</c:v>
                </c:pt>
                <c:pt idx="7">
                  <c:v>16.921199999999999</c:v>
                </c:pt>
                <c:pt idx="8">
                  <c:v>12.568</c:v>
                </c:pt>
                <c:pt idx="9">
                  <c:v>12.3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E1F7526-3C7C-4D6D-AE98-9A4798C040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059FEFD-3B64-4519-AAD9-9F7A3305C9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6349268-A1CA-448F-92E9-2390C26DD0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36D76A6-C33F-45A5-A49E-FC6F90B94C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E73354A-C38C-4670-9428-EA1DD55424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0F9F5739-C495-4AD6-B371-457DF4C392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FD69655-C09A-4A63-B952-ECE099E351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385AB856-EA41-4ABC-A2A7-0F7FE0CEED0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0131000000000001</c:v>
                </c:pt>
                <c:pt idx="1">
                  <c:v>2.4689000000000001</c:v>
                </c:pt>
                <c:pt idx="2">
                  <c:v>2.3700999999999999</c:v>
                </c:pt>
                <c:pt idx="3">
                  <c:v>2.9885999999999999</c:v>
                </c:pt>
                <c:pt idx="4">
                  <c:v>2.7917999999999998</c:v>
                </c:pt>
                <c:pt idx="5">
                  <c:v>3.4443000000000001</c:v>
                </c:pt>
                <c:pt idx="6">
                  <c:v>3.0390000000000001</c:v>
                </c:pt>
                <c:pt idx="7">
                  <c:v>2.5135000000000001</c:v>
                </c:pt>
              </c:numCache>
            </c:numRef>
          </c:xVal>
          <c:yVal>
            <c:numRef>
              <c:f>Sheet1!$B$2:$B$9</c:f>
              <c:numCache>
                <c:formatCode>General</c:formatCode>
                <c:ptCount val="8"/>
                <c:pt idx="0">
                  <c:v>0.84699999999999998</c:v>
                </c:pt>
                <c:pt idx="1">
                  <c:v>1.169</c:v>
                </c:pt>
                <c:pt idx="2">
                  <c:v>0.81699999999999995</c:v>
                </c:pt>
                <c:pt idx="3">
                  <c:v>1.0940000000000001</c:v>
                </c:pt>
                <c:pt idx="4">
                  <c:v>1.0469999999999999</c:v>
                </c:pt>
                <c:pt idx="5">
                  <c:v>0.97399999999999998</c:v>
                </c:pt>
                <c:pt idx="6">
                  <c:v>1.1499999999999999</c:v>
                </c:pt>
                <c:pt idx="7">
                  <c:v>1.401</c:v>
                </c:pt>
              </c:numCache>
            </c:numRef>
          </c:yVal>
          <c:bubbleSize>
            <c:numRef>
              <c:f>Sheet1!$C$2:$C$9</c:f>
              <c:numCache>
                <c:formatCode>General</c:formatCode>
                <c:ptCount val="8"/>
                <c:pt idx="0">
                  <c:v>58897416</c:v>
                </c:pt>
                <c:pt idx="1">
                  <c:v>11602323</c:v>
                </c:pt>
                <c:pt idx="2">
                  <c:v>9875140</c:v>
                </c:pt>
                <c:pt idx="3">
                  <c:v>8620814</c:v>
                </c:pt>
                <c:pt idx="4">
                  <c:v>8261704</c:v>
                </c:pt>
                <c:pt idx="5">
                  <c:v>5658598</c:v>
                </c:pt>
                <c:pt idx="6">
                  <c:v>4747021</c:v>
                </c:pt>
                <c:pt idx="7">
                  <c:v>4240955</c:v>
                </c:pt>
              </c:numCache>
            </c:numRef>
          </c:bubbleSize>
          <c:bubble3D val="0"/>
          <c:extLst>
            <c:ext xmlns:c15="http://schemas.microsoft.com/office/drawing/2012/chart" uri="{02D57815-91ED-43cb-92C2-25804820EDAC}">
              <c15:datalabelsRange>
                <c15:f>Sheet1!$E$2:$E$10</c15:f>
                <c15:dlblRangeCache>
                  <c:ptCount val="9"/>
                  <c:pt idx="0">
                    <c:v>Private Label</c:v>
                  </c:pt>
                  <c:pt idx="1">
                    <c:v>Galbani</c:v>
                  </c:pt>
                  <c:pt idx="2">
                    <c:v>President</c:v>
                  </c:pt>
                  <c:pt idx="3">
                    <c:v>St Moret</c:v>
                  </c:pt>
                  <c:pt idx="4">
                    <c:v>Soignon</c:v>
                  </c:pt>
                  <c:pt idx="5">
                    <c:v>La Vache Qui Rit</c:v>
                  </c:pt>
                  <c:pt idx="6">
                    <c:v>Kiri</c:v>
                  </c:pt>
                  <c:pt idx="7">
                    <c:v>Boursin</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4F0-4891-9E75-3173E0A8C2B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34F0-4891-9E75-3173E0A8C2B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0</c:v>
                </c:pt>
                <c:pt idx="2">
                  <c:v>48.8</c:v>
                </c:pt>
                <c:pt idx="3">
                  <c:v>0</c:v>
                </c:pt>
                <c:pt idx="4">
                  <c:v>33</c:v>
                </c:pt>
                <c:pt idx="5">
                  <c:v>0</c:v>
                </c:pt>
                <c:pt idx="6">
                  <c:v>29.7</c:v>
                </c:pt>
                <c:pt idx="7">
                  <c:v>0</c:v>
                </c:pt>
                <c:pt idx="8">
                  <c:v>24.2</c:v>
                </c:pt>
                <c:pt idx="9">
                  <c:v>6.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4F0-4891-9E75-3173E0A8C2BE}"/>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4F0-4891-9E75-3173E0A8C2BE}"/>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4F0-4891-9E75-3173E0A8C2B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4F0-4891-9E75-3173E0A8C2BE}"/>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4F0-4891-9E75-3173E0A8C2B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4F0-4891-9E75-3173E0A8C2BE}"/>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4F0-4891-9E75-3173E0A8C2BE}"/>
                </c:ext>
              </c:extLst>
            </c:dLbl>
            <c:dLbl>
              <c:idx val="7"/>
              <c:tx>
                <c:rich>
                  <a:bodyPr/>
                  <a:lstStyle/>
                  <a:p>
                    <a:r>
                      <a:t>13.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4F0-4891-9E75-3173E0A8C2BE}"/>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4F0-4891-9E75-3173E0A8C2BE}"/>
                </c:ext>
              </c:extLst>
            </c:dLbl>
            <c:dLbl>
              <c:idx val="9"/>
              <c:tx>
                <c:rich>
                  <a:bodyPr/>
                  <a:lstStyle/>
                  <a:p>
                    <a:r>
                      <a:t>10.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4F0-4891-9E75-3173E0A8C2B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0</c:v>
                </c:pt>
                <c:pt idx="2">
                  <c:v>9.4540000000000006</c:v>
                </c:pt>
                <c:pt idx="3">
                  <c:v>0</c:v>
                </c:pt>
                <c:pt idx="4">
                  <c:v>15.096</c:v>
                </c:pt>
                <c:pt idx="5">
                  <c:v>0</c:v>
                </c:pt>
                <c:pt idx="6">
                  <c:v>12.0214</c:v>
                </c:pt>
                <c:pt idx="7">
                  <c:v>13</c:v>
                </c:pt>
                <c:pt idx="8">
                  <c:v>12.568</c:v>
                </c:pt>
                <c:pt idx="9">
                  <c:v>10.216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2DB6-488A-98ED-D4B9EE941AA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2DB6-488A-98ED-D4B9EE941AAE}"/>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C$2:$C$11</c:f>
              <c:numCache>
                <c:formatCode>General</c:formatCode>
                <c:ptCount val="10"/>
                <c:pt idx="0">
                  <c:v>79.900000000000006</c:v>
                </c:pt>
                <c:pt idx="1">
                  <c:v>1.3</c:v>
                </c:pt>
                <c:pt idx="2">
                  <c:v>48.8</c:v>
                </c:pt>
                <c:pt idx="3">
                  <c:v>0</c:v>
                </c:pt>
                <c:pt idx="4">
                  <c:v>33</c:v>
                </c:pt>
                <c:pt idx="5">
                  <c:v>0</c:v>
                </c:pt>
                <c:pt idx="6">
                  <c:v>29.7</c:v>
                </c:pt>
                <c:pt idx="7">
                  <c:v>3</c:v>
                </c:pt>
                <c:pt idx="8">
                  <c:v>24.2</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3.8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2DB6-488A-98ED-D4B9EE941AAE}"/>
                </c:ext>
              </c:extLst>
            </c:dLbl>
            <c:dLbl>
              <c:idx val="1"/>
              <c:tx>
                <c:rich>
                  <a:bodyPr/>
                  <a:lstStyle/>
                  <a:p>
                    <a:r>
                      <a:t>18.0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2DB6-488A-98ED-D4B9EE941AAE}"/>
                </c:ext>
              </c:extLst>
            </c:dLbl>
            <c:dLbl>
              <c:idx val="2"/>
              <c:tx>
                <c:rich>
                  <a:bodyPr/>
                  <a:lstStyle/>
                  <a:p>
                    <a:r>
                      <a:t>9.4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2DB6-488A-98ED-D4B9EE941AAE}"/>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2DB6-488A-98ED-D4B9EE941AAE}"/>
                </c:ext>
              </c:extLst>
            </c:dLbl>
            <c:dLbl>
              <c:idx val="4"/>
              <c:tx>
                <c:rich>
                  <a:bodyPr/>
                  <a:lstStyle/>
                  <a:p>
                    <a:r>
                      <a:t>1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2DB6-488A-98ED-D4B9EE941AAE}"/>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2DB6-488A-98ED-D4B9EE941AAE}"/>
                </c:ext>
              </c:extLst>
            </c:dLbl>
            <c:dLbl>
              <c:idx val="6"/>
              <c:tx>
                <c:rich>
                  <a:bodyPr/>
                  <a:lstStyle/>
                  <a:p>
                    <a:r>
                      <a:t>1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2DB6-488A-98ED-D4B9EE941AAE}"/>
                </c:ext>
              </c:extLst>
            </c:dLbl>
            <c:dLbl>
              <c:idx val="7"/>
              <c:tx>
                <c:rich>
                  <a:bodyPr/>
                  <a:lstStyle/>
                  <a:p>
                    <a:r>
                      <a:t>15.6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2DB6-488A-98ED-D4B9EE941AAE}"/>
                </c:ext>
              </c:extLst>
            </c:dLbl>
            <c:dLbl>
              <c:idx val="8"/>
              <c:tx>
                <c:rich>
                  <a:bodyPr/>
                  <a:lstStyle/>
                  <a:p>
                    <a:r>
                      <a:t>1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2DB6-488A-98ED-D4B9EE941AAE}"/>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2DB6-488A-98ED-D4B9EE941AA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Chevre</c:v>
                  </c:pt>
                  <c:pt idx="6">
                    <c:v>Frais A Tartiner</c:v>
                  </c:pt>
                  <c:pt idx="8">
                    <c:v>Enfant</c:v>
                  </c:pt>
                </c:lvl>
              </c:multiLvlStrCache>
            </c:multiLvlStrRef>
          </c:cat>
          <c:val>
            <c:numRef>
              <c:f>Sheet1!$D$2:$D$11</c:f>
              <c:numCache>
                <c:formatCode>General</c:formatCode>
                <c:ptCount val="10"/>
                <c:pt idx="0">
                  <c:v>13.827</c:v>
                </c:pt>
                <c:pt idx="1">
                  <c:v>18.035499999999999</c:v>
                </c:pt>
                <c:pt idx="2">
                  <c:v>9.4540000000000006</c:v>
                </c:pt>
                <c:pt idx="3">
                  <c:v>0</c:v>
                </c:pt>
                <c:pt idx="4">
                  <c:v>15.096</c:v>
                </c:pt>
                <c:pt idx="5">
                  <c:v>0</c:v>
                </c:pt>
                <c:pt idx="6">
                  <c:v>12.0214</c:v>
                </c:pt>
                <c:pt idx="7">
                  <c:v>15.6629</c:v>
                </c:pt>
                <c:pt idx="8">
                  <c:v>12.568</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DC9A-4CE8-9EF5-F4CE50E81828}"/>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DC9A-4CE8-9EF5-F4CE50E81828}"/>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Frais A Tartiner</c:v>
                  </c:pt>
                  <c:pt idx="6">
                    <c:v>Chevre</c:v>
                  </c:pt>
                  <c:pt idx="8">
                    <c:v>Enfant</c:v>
                  </c:pt>
                </c:lvl>
              </c:multiLvlStrCache>
            </c:multiLvlStrRef>
          </c:cat>
          <c:val>
            <c:numRef>
              <c:f>Sheet1!$C$2:$C$11</c:f>
              <c:numCache>
                <c:formatCode>General</c:formatCode>
                <c:ptCount val="10"/>
                <c:pt idx="0">
                  <c:v>56.2</c:v>
                </c:pt>
                <c:pt idx="1">
                  <c:v>0</c:v>
                </c:pt>
                <c:pt idx="2">
                  <c:v>41.5</c:v>
                </c:pt>
                <c:pt idx="3">
                  <c:v>0</c:v>
                </c:pt>
                <c:pt idx="4">
                  <c:v>25.7</c:v>
                </c:pt>
                <c:pt idx="5">
                  <c:v>0.2</c:v>
                </c:pt>
                <c:pt idx="6">
                  <c:v>25.5</c:v>
                </c:pt>
                <c:pt idx="7">
                  <c:v>0</c:v>
                </c:pt>
                <c:pt idx="8">
                  <c:v>19.5</c:v>
                </c:pt>
                <c:pt idx="9">
                  <c:v>4.5999999999999996</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C9A-4CE8-9EF5-F4CE50E8182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DC9A-4CE8-9EF5-F4CE50E81828}"/>
                </c:ext>
              </c:extLst>
            </c:dLbl>
            <c:dLbl>
              <c:idx val="2"/>
              <c:tx>
                <c:rich>
                  <a:bodyPr/>
                  <a:lstStyle/>
                  <a:p>
                    <a:r>
                      <a:t>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C9A-4CE8-9EF5-F4CE50E81828}"/>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DC9A-4CE8-9EF5-F4CE50E81828}"/>
                </c:ext>
              </c:extLst>
            </c:dLbl>
            <c:dLbl>
              <c:idx val="4"/>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DC9A-4CE8-9EF5-F4CE50E81828}"/>
                </c:ext>
              </c:extLst>
            </c:dLbl>
            <c:dLbl>
              <c:idx val="5"/>
              <c:tx>
                <c:rich>
                  <a:bodyPr/>
                  <a:lstStyle/>
                  <a:p>
                    <a:r>
                      <a:t>19.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DC9A-4CE8-9EF5-F4CE50E81828}"/>
                </c:ext>
              </c:extLst>
            </c:dLbl>
            <c:dLbl>
              <c:idx val="6"/>
              <c:tx>
                <c:rich>
                  <a:bodyPr/>
                  <a:lstStyle/>
                  <a:p>
                    <a:r>
                      <a:t>1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DC9A-4CE8-9EF5-F4CE50E81828}"/>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DC9A-4CE8-9EF5-F4CE50E81828}"/>
                </c:ext>
              </c:extLst>
            </c:dLbl>
            <c:dLbl>
              <c:idx val="8"/>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DC9A-4CE8-9EF5-F4CE50E81828}"/>
                </c:ext>
              </c:extLst>
            </c:dLbl>
            <c:dLbl>
              <c:idx val="9"/>
              <c:tx>
                <c:rich>
                  <a:bodyPr/>
                  <a:lstStyle/>
                  <a:p>
                    <a:r>
                      <a:t>13.1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DC9A-4CE8-9EF5-F4CE50E8182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Kiri</c:v>
                  </c:pt>
                  <c:pt idx="2">
                    <c:v>Total</c:v>
                  </c:pt>
                  <c:pt idx="3">
                    <c:v>Kiri</c:v>
                  </c:pt>
                  <c:pt idx="4">
                    <c:v>Total</c:v>
                  </c:pt>
                  <c:pt idx="5">
                    <c:v>Kiri</c:v>
                  </c:pt>
                  <c:pt idx="6">
                    <c:v>Total</c:v>
                  </c:pt>
                  <c:pt idx="7">
                    <c:v>Kiri</c:v>
                  </c:pt>
                  <c:pt idx="8">
                    <c:v>Total</c:v>
                  </c:pt>
                  <c:pt idx="9">
                    <c:v>Kiri</c:v>
                  </c:pt>
                </c:lvl>
                <c:lvl>
                  <c:pt idx="0">
                    <c:v>Salade</c:v>
                  </c:pt>
                  <c:pt idx="2">
                    <c:v>Classique</c:v>
                  </c:pt>
                  <c:pt idx="4">
                    <c:v>Frais A Tartiner</c:v>
                  </c:pt>
                  <c:pt idx="6">
                    <c:v>Chevre</c:v>
                  </c:pt>
                  <c:pt idx="8">
                    <c:v>Enfant</c:v>
                  </c:pt>
                </c:lvl>
              </c:multiLvlStrCache>
            </c:multiLvlStrRef>
          </c:cat>
          <c:val>
            <c:numRef>
              <c:f>Sheet1!$D$2:$D$11</c:f>
              <c:numCache>
                <c:formatCode>General</c:formatCode>
                <c:ptCount val="10"/>
                <c:pt idx="0">
                  <c:v>12.5101</c:v>
                </c:pt>
                <c:pt idx="1">
                  <c:v>0</c:v>
                </c:pt>
                <c:pt idx="2">
                  <c:v>9.1001999999999992</c:v>
                </c:pt>
                <c:pt idx="3">
                  <c:v>0</c:v>
                </c:pt>
                <c:pt idx="4">
                  <c:v>11.766500000000001</c:v>
                </c:pt>
                <c:pt idx="5">
                  <c:v>19.272300000000001</c:v>
                </c:pt>
                <c:pt idx="6">
                  <c:v>12.8956</c:v>
                </c:pt>
                <c:pt idx="7">
                  <c:v>0</c:v>
                </c:pt>
                <c:pt idx="8">
                  <c:v>12.8139</c:v>
                </c:pt>
                <c:pt idx="9">
                  <c:v>13.1583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3BE3-4017-B070-EFFFBEE9835C}"/>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3BE3-4017-B070-EFFFBEE983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Frais A Tartiner</c:v>
                  </c:pt>
                  <c:pt idx="6">
                    <c:v>Chevre</c:v>
                  </c:pt>
                  <c:pt idx="8">
                    <c:v>Enfant</c:v>
                  </c:pt>
                </c:lvl>
              </c:multiLvlStrCache>
            </c:multiLvlStrRef>
          </c:cat>
          <c:val>
            <c:numRef>
              <c:f>Sheet1!$C$2:$C$11</c:f>
              <c:numCache>
                <c:formatCode>General</c:formatCode>
                <c:ptCount val="10"/>
                <c:pt idx="0">
                  <c:v>56.2</c:v>
                </c:pt>
                <c:pt idx="1">
                  <c:v>0</c:v>
                </c:pt>
                <c:pt idx="2">
                  <c:v>41.5</c:v>
                </c:pt>
                <c:pt idx="3">
                  <c:v>0</c:v>
                </c:pt>
                <c:pt idx="4">
                  <c:v>25.7</c:v>
                </c:pt>
                <c:pt idx="5">
                  <c:v>0</c:v>
                </c:pt>
                <c:pt idx="6">
                  <c:v>25.5</c:v>
                </c:pt>
                <c:pt idx="7">
                  <c:v>0</c:v>
                </c:pt>
                <c:pt idx="8">
                  <c:v>19.5</c:v>
                </c:pt>
                <c:pt idx="9">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3BE3-4017-B070-EFFFBEE9835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3BE3-4017-B070-EFFFBEE9835C}"/>
                </c:ext>
              </c:extLst>
            </c:dLbl>
            <c:dLbl>
              <c:idx val="2"/>
              <c:tx>
                <c:rich>
                  <a:bodyPr/>
                  <a:lstStyle/>
                  <a:p>
                    <a:r>
                      <a:t>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3BE3-4017-B070-EFFFBEE9835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3BE3-4017-B070-EFFFBEE9835C}"/>
                </c:ext>
              </c:extLst>
            </c:dLbl>
            <c:dLbl>
              <c:idx val="4"/>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3BE3-4017-B070-EFFFBEE9835C}"/>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3BE3-4017-B070-EFFFBEE9835C}"/>
                </c:ext>
              </c:extLst>
            </c:dLbl>
            <c:dLbl>
              <c:idx val="6"/>
              <c:tx>
                <c:rich>
                  <a:bodyPr/>
                  <a:lstStyle/>
                  <a:p>
                    <a:r>
                      <a:t>1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3BE3-4017-B070-EFFFBEE9835C}"/>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3BE3-4017-B070-EFFFBEE9835C}"/>
                </c:ext>
              </c:extLst>
            </c:dLbl>
            <c:dLbl>
              <c:idx val="8"/>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3BE3-4017-B070-EFFFBEE9835C}"/>
                </c:ext>
              </c:extLst>
            </c:dLbl>
            <c:dLbl>
              <c:idx val="9"/>
              <c:tx>
                <c:rich>
                  <a:bodyPr/>
                  <a:lstStyle/>
                  <a:p>
                    <a:r>
                      <a:t>11.2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3BE3-4017-B070-EFFFBEE9835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La Vache Qui Rit</c:v>
                  </c:pt>
                  <c:pt idx="2">
                    <c:v>Total</c:v>
                  </c:pt>
                  <c:pt idx="3">
                    <c:v>La Vache Qui Rit</c:v>
                  </c:pt>
                  <c:pt idx="4">
                    <c:v>Total</c:v>
                  </c:pt>
                  <c:pt idx="5">
                    <c:v>La Vache Qui Rit</c:v>
                  </c:pt>
                  <c:pt idx="6">
                    <c:v>Total</c:v>
                  </c:pt>
                  <c:pt idx="7">
                    <c:v>La Vache Qui Rit</c:v>
                  </c:pt>
                  <c:pt idx="8">
                    <c:v>Total</c:v>
                  </c:pt>
                  <c:pt idx="9">
                    <c:v>La Vache Qui Rit</c:v>
                  </c:pt>
                </c:lvl>
                <c:lvl>
                  <c:pt idx="0">
                    <c:v>Salade</c:v>
                  </c:pt>
                  <c:pt idx="2">
                    <c:v>Classique</c:v>
                  </c:pt>
                  <c:pt idx="4">
                    <c:v>Frais A Tartiner</c:v>
                  </c:pt>
                  <c:pt idx="6">
                    <c:v>Chevre</c:v>
                  </c:pt>
                  <c:pt idx="8">
                    <c:v>Enfant</c:v>
                  </c:pt>
                </c:lvl>
              </c:multiLvlStrCache>
            </c:multiLvlStrRef>
          </c:cat>
          <c:val>
            <c:numRef>
              <c:f>Sheet1!$D$2:$D$11</c:f>
              <c:numCache>
                <c:formatCode>General</c:formatCode>
                <c:ptCount val="10"/>
                <c:pt idx="0">
                  <c:v>12.5101</c:v>
                </c:pt>
                <c:pt idx="1">
                  <c:v>0</c:v>
                </c:pt>
                <c:pt idx="2">
                  <c:v>9.1001999999999992</c:v>
                </c:pt>
                <c:pt idx="3">
                  <c:v>0</c:v>
                </c:pt>
                <c:pt idx="4">
                  <c:v>11.766500000000001</c:v>
                </c:pt>
                <c:pt idx="5">
                  <c:v>0</c:v>
                </c:pt>
                <c:pt idx="6">
                  <c:v>12.8956</c:v>
                </c:pt>
                <c:pt idx="7">
                  <c:v>0</c:v>
                </c:pt>
                <c:pt idx="8">
                  <c:v>12.8139</c:v>
                </c:pt>
                <c:pt idx="9">
                  <c:v>11.2734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6933-42D9-A00B-799976B858B9}"/>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4"/>
            <c:invertIfNegative val="1"/>
            <c:bubble3D val="0"/>
            <c:spPr>
              <a:solidFill>
                <a:srgbClr val="AEABAB"/>
              </a:solidFill>
              <a:ln>
                <a:noFill/>
              </a:ln>
              <a:effectLst/>
            </c:spPr>
            <c:extLst>
              <c:ext xmlns:c16="http://schemas.microsoft.com/office/drawing/2014/chart" uri="{C3380CC4-5D6E-409C-BE32-E72D297353CC}">
                <c16:uniqueId val="{0000001D-6933-42D9-A00B-799976B858B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Frais A Tartiner</c:v>
                  </c:pt>
                  <c:pt idx="6">
                    <c:v>Chevre</c:v>
                  </c:pt>
                  <c:pt idx="8">
                    <c:v>Enfant</c:v>
                  </c:pt>
                </c:lvl>
              </c:multiLvlStrCache>
            </c:multiLvlStrRef>
          </c:cat>
          <c:val>
            <c:numRef>
              <c:f>Sheet1!$C$2:$C$11</c:f>
              <c:numCache>
                <c:formatCode>General</c:formatCode>
                <c:ptCount val="10"/>
                <c:pt idx="0">
                  <c:v>56.2</c:v>
                </c:pt>
                <c:pt idx="1">
                  <c:v>0.8</c:v>
                </c:pt>
                <c:pt idx="2">
                  <c:v>41.5</c:v>
                </c:pt>
                <c:pt idx="3">
                  <c:v>0</c:v>
                </c:pt>
                <c:pt idx="4">
                  <c:v>25.7</c:v>
                </c:pt>
                <c:pt idx="5">
                  <c:v>3.5</c:v>
                </c:pt>
                <c:pt idx="6">
                  <c:v>25.5</c:v>
                </c:pt>
                <c:pt idx="7">
                  <c:v>0</c:v>
                </c:pt>
                <c:pt idx="8">
                  <c:v>19.5</c:v>
                </c:pt>
                <c:pt idx="9">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2.5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6933-42D9-A00B-799976B858B9}"/>
                </c:ext>
              </c:extLst>
            </c:dLbl>
            <c:dLbl>
              <c:idx val="1"/>
              <c:tx>
                <c:rich>
                  <a:bodyPr/>
                  <a:lstStyle/>
                  <a:p>
                    <a:r>
                      <a:t>20.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933-42D9-A00B-799976B858B9}"/>
                </c:ext>
              </c:extLst>
            </c:dLbl>
            <c:dLbl>
              <c:idx val="2"/>
              <c:tx>
                <c:rich>
                  <a:bodyPr/>
                  <a:lstStyle/>
                  <a:p>
                    <a:r>
                      <a:t>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6933-42D9-A00B-799976B858B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933-42D9-A00B-799976B858B9}"/>
                </c:ext>
              </c:extLst>
            </c:dLbl>
            <c:dLbl>
              <c:idx val="4"/>
              <c:tx>
                <c:rich>
                  <a:bodyPr/>
                  <a:lstStyle/>
                  <a:p>
                    <a:r>
                      <a:t>11.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6933-42D9-A00B-799976B858B9}"/>
                </c:ext>
              </c:extLst>
            </c:dLbl>
            <c:dLbl>
              <c:idx val="5"/>
              <c:tx>
                <c:rich>
                  <a:bodyPr/>
                  <a:lstStyle/>
                  <a:p>
                    <a:r>
                      <a:t>15.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6933-42D9-A00B-799976B858B9}"/>
                </c:ext>
              </c:extLst>
            </c:dLbl>
            <c:dLbl>
              <c:idx val="6"/>
              <c:tx>
                <c:rich>
                  <a:bodyPr/>
                  <a:lstStyle/>
                  <a:p>
                    <a:r>
                      <a:t>12.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6933-42D9-A00B-799976B858B9}"/>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6933-42D9-A00B-799976B858B9}"/>
                </c:ext>
              </c:extLst>
            </c:dLbl>
            <c:dLbl>
              <c:idx val="8"/>
              <c:tx>
                <c:rich>
                  <a:bodyPr/>
                  <a:lstStyle/>
                  <a:p>
                    <a:r>
                      <a:t>12.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6933-42D9-A00B-799976B858B9}"/>
                </c:ext>
              </c:extLst>
            </c:dLbl>
            <c:dLbl>
              <c:idx val="9"/>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6933-42D9-A00B-799976B858B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11</c:f>
              <c:multiLvlStrCache>
                <c:ptCount val="10"/>
                <c:lvl>
                  <c:pt idx="0">
                    <c:v>Total</c:v>
                  </c:pt>
                  <c:pt idx="1">
                    <c:v>Boursin</c:v>
                  </c:pt>
                  <c:pt idx="2">
                    <c:v>Total</c:v>
                  </c:pt>
                  <c:pt idx="3">
                    <c:v>Boursin</c:v>
                  </c:pt>
                  <c:pt idx="4">
                    <c:v>Total</c:v>
                  </c:pt>
                  <c:pt idx="5">
                    <c:v>Boursin</c:v>
                  </c:pt>
                  <c:pt idx="6">
                    <c:v>Total</c:v>
                  </c:pt>
                  <c:pt idx="7">
                    <c:v>Boursin</c:v>
                  </c:pt>
                  <c:pt idx="8">
                    <c:v>Total</c:v>
                  </c:pt>
                  <c:pt idx="9">
                    <c:v>Boursin</c:v>
                  </c:pt>
                </c:lvl>
                <c:lvl>
                  <c:pt idx="0">
                    <c:v>Salade</c:v>
                  </c:pt>
                  <c:pt idx="2">
                    <c:v>Classique</c:v>
                  </c:pt>
                  <c:pt idx="4">
                    <c:v>Frais A Tartiner</c:v>
                  </c:pt>
                  <c:pt idx="6">
                    <c:v>Chevre</c:v>
                  </c:pt>
                  <c:pt idx="8">
                    <c:v>Enfant</c:v>
                  </c:pt>
                </c:lvl>
              </c:multiLvlStrCache>
            </c:multiLvlStrRef>
          </c:cat>
          <c:val>
            <c:numRef>
              <c:f>Sheet1!$D$2:$D$11</c:f>
              <c:numCache>
                <c:formatCode>General</c:formatCode>
                <c:ptCount val="10"/>
                <c:pt idx="0">
                  <c:v>12.5101</c:v>
                </c:pt>
                <c:pt idx="1">
                  <c:v>20.2014</c:v>
                </c:pt>
                <c:pt idx="2">
                  <c:v>9.1001999999999992</c:v>
                </c:pt>
                <c:pt idx="3">
                  <c:v>0</c:v>
                </c:pt>
                <c:pt idx="4">
                  <c:v>11.766500000000001</c:v>
                </c:pt>
                <c:pt idx="5">
                  <c:v>15.525</c:v>
                </c:pt>
                <c:pt idx="6">
                  <c:v>12.8956</c:v>
                </c:pt>
                <c:pt idx="7">
                  <c:v>0</c:v>
                </c:pt>
                <c:pt idx="8">
                  <c:v>12.8139</c:v>
                </c:pt>
                <c:pt idx="9">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340A16FA-8E44-40BD-BCE8-6FB41C40A1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838EC5B-2BCD-45EA-9DAE-D1EEA5B378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BE80FC3C-15AC-461D-AD58-52BB7A32A3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A6C8DA04-401F-4439-8159-60B908C166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79F75477-899C-482A-A72E-C95994341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9B57D7A1-8334-432A-A74E-97F33014C03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CB6BA6DD-EF15-4D9E-92EF-EAD2164231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65F5EF26-1910-48F8-9E07-8200D24F6A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3.9350000000000001</c:v>
                </c:pt>
                <c:pt idx="1">
                  <c:v>2.1753</c:v>
                </c:pt>
                <c:pt idx="2">
                  <c:v>3.5583</c:v>
                </c:pt>
                <c:pt idx="3">
                  <c:v>2.6888000000000001</c:v>
                </c:pt>
                <c:pt idx="4">
                  <c:v>2.6114000000000002</c:v>
                </c:pt>
              </c:numCache>
            </c:numRef>
          </c:xVal>
          <c:yVal>
            <c:numRef>
              <c:f>Sheet1!$B$2:$B$6</c:f>
              <c:numCache>
                <c:formatCode>General</c:formatCode>
                <c:ptCount val="5"/>
                <c:pt idx="0">
                  <c:v>0.88</c:v>
                </c:pt>
                <c:pt idx="1">
                  <c:v>1.0760000000000001</c:v>
                </c:pt>
                <c:pt idx="2">
                  <c:v>1.7609999999999999</c:v>
                </c:pt>
                <c:pt idx="3">
                  <c:v>1.331</c:v>
                </c:pt>
                <c:pt idx="4">
                  <c:v>0.97599999999999998</c:v>
                </c:pt>
              </c:numCache>
            </c:numRef>
          </c:yVal>
          <c:bubbleSize>
            <c:numRef>
              <c:f>Sheet1!$C$2:$C$6</c:f>
              <c:numCache>
                <c:formatCode>General</c:formatCode>
                <c:ptCount val="5"/>
                <c:pt idx="0">
                  <c:v>5772129</c:v>
                </c:pt>
                <c:pt idx="1">
                  <c:v>1439845</c:v>
                </c:pt>
                <c:pt idx="2">
                  <c:v>1178065</c:v>
                </c:pt>
                <c:pt idx="3">
                  <c:v>808897</c:v>
                </c:pt>
                <c:pt idx="4">
                  <c:v>736159</c:v>
                </c:pt>
              </c:numCache>
            </c:numRef>
          </c:bubbleSize>
          <c:bubble3D val="0"/>
          <c:extLst>
            <c:ext xmlns:c15="http://schemas.microsoft.com/office/drawing/2012/chart" uri="{02D57815-91ED-43cb-92C2-25804820EDAC}">
              <c15:datalabelsRange>
                <c15:f>Sheet1!$E$2:$E$10</c15:f>
                <c15:dlblRangeCache>
                  <c:ptCount val="9"/>
                  <c:pt idx="0">
                    <c:v>Apericube</c:v>
                  </c:pt>
                  <c:pt idx="1">
                    <c:v>Aperivrais</c:v>
                  </c:pt>
                  <c:pt idx="2">
                    <c:v>Boursin</c:v>
                  </c:pt>
                  <c:pt idx="3">
                    <c:v>St Moret</c:v>
                  </c:pt>
                  <c:pt idx="4">
                    <c:v>Private Lab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chart" Target="../charts/chart49.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chart" Target="../charts/chart50.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chart" Target="../charts/chart51.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chart" Target="../charts/chart52.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chart" Target="../charts/chart53.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chart" Target="../charts/chart54.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8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7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7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7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7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8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8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8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8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8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244528497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874086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3646083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0330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25704"/>
            <a:ext cx="4869366" cy="70457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48350"/>
            <a:ext cx="4869366" cy="142722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1891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6076882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074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30624"/>
            <a:ext cx="4869366" cy="73574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85229"/>
            <a:ext cx="4869366" cy="149034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37132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46073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8322"/>
            <a:ext cx="4869366" cy="6840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9920"/>
            <a:ext cx="4869366" cy="13856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9932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4249196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529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49171"/>
            <a:ext cx="4869366" cy="76243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73145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8628024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89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3586"/>
            <a:ext cx="4869366" cy="7937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67700"/>
            <a:ext cx="4869366" cy="160787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2253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438967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6924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92764"/>
            <a:ext cx="4869366" cy="74814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2441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5936746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7851"/>
            <a:ext cx="4869366" cy="92215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5636"/>
            <a:ext cx="4869366" cy="6095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6227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217687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52684"/>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71007"/>
            <a:ext cx="4869366" cy="82552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10527"/>
            <a:ext cx="4869366" cy="54568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3201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774657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2144"/>
            <a:ext cx="4869366" cy="92403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1842"/>
            <a:ext cx="4869366" cy="61080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33305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76375400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99954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Carrefour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34996102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682039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33453867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6688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01496153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8951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1930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472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37026"/>
            <a:ext cx="4869366" cy="70086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5866"/>
            <a:ext cx="4869366" cy="141970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393092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6132584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7927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02701"/>
            <a:ext cx="4869366" cy="74489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66693"/>
            <a:ext cx="4869366" cy="1508882"/>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269532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99852765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84537"/>
            <a:ext cx="4869366" cy="9858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87120"/>
            <a:ext cx="4869366" cy="6516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55508"/>
            <a:ext cx="4869366" cy="132006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318115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2213560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7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9701"/>
            <a:ext cx="4869366" cy="7163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1745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4063190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18975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627602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6634"/>
            <a:ext cx="4869366" cy="9983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1922"/>
            <a:ext cx="4869366" cy="6599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9070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307550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7429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99436"/>
            <a:ext cx="4869366" cy="81150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2153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4275455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9775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22702"/>
            <a:ext cx="4869366" cy="80388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62030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Intermarche | P3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903378614"/>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Total Fromag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3312425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Total Fromag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6668967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096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5801"/>
            <a:ext cx="4869366" cy="79958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59906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799835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12609"/>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37429"/>
            <a:ext cx="4869366" cy="79905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1495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98750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0188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1047"/>
            <a:ext cx="4869366" cy="87495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0833"/>
            <a:ext cx="4869366" cy="5783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393533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oft Chees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4828705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242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6829"/>
            <a:ext cx="4869366" cy="78286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758412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345141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374505"/>
            <a:ext cx="4869366" cy="9562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346931"/>
            <a:ext cx="4869366" cy="63207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592665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0161941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473573"/>
            <a:ext cx="4869366" cy="9235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12792"/>
            <a:ext cx="4869366" cy="61049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252330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Aperitif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0522858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0309"/>
            <a:ext cx="4869366" cy="88332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78220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0996899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90235"/>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09461"/>
            <a:ext cx="4869366" cy="87877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03131"/>
            <a:ext cx="4869366" cy="58088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8910"/>
            <a:ext cx="4869366" cy="117666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00733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19810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78482"/>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97773"/>
            <a:ext cx="4869366" cy="88262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95360"/>
            <a:ext cx="4869366" cy="58343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93752"/>
            <a:ext cx="4869366" cy="1181823"/>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65206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Enfant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7923241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312641"/>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532298"/>
            <a:ext cx="4869366" cy="9042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451832"/>
            <a:ext cx="4869366" cy="59769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064855"/>
            <a:ext cx="4869366" cy="12107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64444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3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52980127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98996047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950469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355327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2976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3605"/>
            <a:ext cx="4869366" cy="7609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4099"/>
            <a:ext cx="4869366" cy="15414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126220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64471794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3374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58392"/>
            <a:ext cx="4869366" cy="7921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70891"/>
            <a:ext cx="4869366" cy="160468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83903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Frais A Tartiner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101273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77828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NATIONAL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2508819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6700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89701"/>
            <a:ext cx="4869366" cy="7163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146777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Carrefour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29919255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2078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45535"/>
            <a:ext cx="4869366" cy="7963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90967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alade | Intermarche | P3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59200418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46634"/>
            <a:ext cx="4869366" cy="99836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1922"/>
            <a:ext cx="4869366" cy="65993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26088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8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898327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Presiden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5829493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Apericub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Aperivra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3292023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08381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Carrefour | P3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247901216"/>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70692003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2644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529761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Brand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Galban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alak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St More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aysan Breto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Boursin</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La Vache Qui Rit</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ini Baby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Kiri</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Ficello</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8326251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3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682730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9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299372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oft Cheese (9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Euria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Aperitif (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6.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9062831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NATIONAL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9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927970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Carrefour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5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8676587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9/14/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Total Fromage | Intermarche | P3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alade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ctali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Casa Azzurr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Frais A Tartiner (1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Lait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6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Mondelez</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Enfant (11%)</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Mdd</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Kerry</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avencia</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36281439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8284809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82032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Intermarche | P3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11751303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43241930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oft Cheese</a:t>
                      </a:r>
                    </a:p>
                  </a:txBody>
                  <a:tcPr anchor="ctr">
                    <a:solidFill>
                      <a:schemeClr val="bg2"/>
                    </a:solidFill>
                  </a:tcPr>
                </a:tc>
                <a:tc>
                  <a:txBody>
                    <a:bodyPr/>
                    <a:lstStyle/>
                    <a:p>
                      <a:pPr algn="ctr">
                        <a:defRPr sz="1100">
                          <a:latin typeface="Nexa Book"/>
                        </a:defRPr>
                      </a:pPr>
                      <a:r>
                        <a:rPr b="1">
                          <a:solidFill>
                            <a:srgbClr val="575555"/>
                          </a:solidFill>
                        </a:rPr>
                        <a:t>Aperitif</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5731348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el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709734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762833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995529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88766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3209477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8720269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296942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2686827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411655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435646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276412040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6712271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22433469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41324006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5720075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134888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1.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677443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0728959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6425048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958907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7870521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340325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2539018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859595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Carrefour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80553101"/>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3184217342"/>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728439089"/>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9403783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660947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NATIONAL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3.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8.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4229007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310661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750432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Carrefour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4.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3.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522801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Kiri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6.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7538590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La Vache Qui Rit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761904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9/14/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July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Boursin | Intermarche |  P3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5"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408318">
                  <a:extLst>
                    <a:ext uri="{9D8B030D-6E8A-4147-A177-3AD203B41FA5}">
                      <a16:colId xmlns:a16="http://schemas.microsoft.com/office/drawing/2014/main" val="2253286919"/>
                    </a:ext>
                  </a:extLst>
                </a:gridCol>
                <a:gridCol w="1408318">
                  <a:extLst>
                    <a:ext uri="{9D8B030D-6E8A-4147-A177-3AD203B41FA5}">
                      <a16:colId xmlns:a16="http://schemas.microsoft.com/office/drawing/2014/main" val="154020430"/>
                    </a:ext>
                  </a:extLst>
                </a:gridCol>
                <a:gridCol w="1408318">
                  <a:extLst>
                    <a:ext uri="{9D8B030D-6E8A-4147-A177-3AD203B41FA5}">
                      <a16:colId xmlns:a16="http://schemas.microsoft.com/office/drawing/2014/main" val="3928813835"/>
                    </a:ext>
                  </a:extLst>
                </a:gridCol>
                <a:gridCol w="1408318">
                  <a:extLst>
                    <a:ext uri="{9D8B030D-6E8A-4147-A177-3AD203B41FA5}">
                      <a16:colId xmlns:a16="http://schemas.microsoft.com/office/drawing/2014/main" val="4099274801"/>
                    </a:ext>
                  </a:extLst>
                </a:gridCol>
                <a:gridCol w="1408318">
                  <a:extLst>
                    <a:ext uri="{9D8B030D-6E8A-4147-A177-3AD203B41FA5}">
                      <a16:colId xmlns:a16="http://schemas.microsoft.com/office/drawing/2014/main" val="3203434082"/>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4"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408327">
                  <a:extLst>
                    <a:ext uri="{9D8B030D-6E8A-4147-A177-3AD203B41FA5}">
                      <a16:colId xmlns:a16="http://schemas.microsoft.com/office/drawing/2014/main" val="2253286919"/>
                    </a:ext>
                  </a:extLst>
                </a:gridCol>
                <a:gridCol w="1408327">
                  <a:extLst>
                    <a:ext uri="{9D8B030D-6E8A-4147-A177-3AD203B41FA5}">
                      <a16:colId xmlns:a16="http://schemas.microsoft.com/office/drawing/2014/main" val="154020430"/>
                    </a:ext>
                  </a:extLst>
                </a:gridCol>
                <a:gridCol w="1408327">
                  <a:extLst>
                    <a:ext uri="{9D8B030D-6E8A-4147-A177-3AD203B41FA5}">
                      <a16:colId xmlns:a16="http://schemas.microsoft.com/office/drawing/2014/main" val="3928813835"/>
                    </a:ext>
                  </a:extLst>
                </a:gridCol>
                <a:gridCol w="1408327">
                  <a:extLst>
                    <a:ext uri="{9D8B030D-6E8A-4147-A177-3AD203B41FA5}">
                      <a16:colId xmlns:a16="http://schemas.microsoft.com/office/drawing/2014/main" val="4099274801"/>
                    </a:ext>
                  </a:extLst>
                </a:gridCol>
                <a:gridCol w="1408327">
                  <a:extLst>
                    <a:ext uri="{9D8B030D-6E8A-4147-A177-3AD203B41FA5}">
                      <a16:colId xmlns:a16="http://schemas.microsoft.com/office/drawing/2014/main" val="3203434082"/>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7.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379120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9/14/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Intermarche | P3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424394528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4012949015"/>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4108886045"/>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Enfant</a:t>
                      </a:r>
                    </a:p>
                  </a:txBody>
                  <a:tcPr anchor="ctr">
                    <a:solidFill>
                      <a:schemeClr val="bg2"/>
                    </a:solidFill>
                  </a:tcPr>
                </a:tc>
                <a:tc>
                  <a:txBody>
                    <a:bodyPr/>
                    <a:lstStyle/>
                    <a:p>
                      <a:pPr algn="ctr">
                        <a:defRPr sz="1100">
                          <a:latin typeface="Nexa Book"/>
                        </a:defRPr>
                      </a:pPr>
                      <a:r>
                        <a:rPr b="1">
                          <a:solidFill>
                            <a:srgbClr val="575555"/>
                          </a:solidFill>
                        </a:rPr>
                        <a:t>Frais A Tartiner</a:t>
                      </a:r>
                    </a:p>
                  </a:txBody>
                  <a:tcPr anchor="ctr">
                    <a:solidFill>
                      <a:schemeClr val="bg2"/>
                    </a:solidFill>
                  </a:tcPr>
                </a:tc>
                <a:tc>
                  <a:txBody>
                    <a:bodyPr/>
                    <a:lstStyle/>
                    <a:p>
                      <a:pPr algn="ctr">
                        <a:defRPr sz="1100">
                          <a:latin typeface="Nexa Book"/>
                        </a:defRPr>
                      </a:pPr>
                      <a:r>
                        <a:rPr b="1">
                          <a:solidFill>
                            <a:srgbClr val="575555"/>
                          </a:solidFill>
                        </a:rPr>
                        <a:t>Salade</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5428497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TotalTime>
  <Words>8514</Words>
  <Application>Microsoft Office PowerPoint</Application>
  <PresentationFormat>On-screen Show (16:9)</PresentationFormat>
  <Paragraphs>2417</Paragraphs>
  <Slides>87</Slides>
  <Notes>4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7"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6</cp:revision>
  <dcterms:created xsi:type="dcterms:W3CDTF">2024-07-05T14:56:51Z</dcterms:created>
  <dcterms:modified xsi:type="dcterms:W3CDTF">2025-09-14T09:3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